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38"/>
  </p:notesMasterIdLst>
  <p:handoutMasterIdLst>
    <p:handoutMasterId r:id="rId39"/>
  </p:handoutMasterIdLst>
  <p:sldIdLst>
    <p:sldId id="2145705560" r:id="rId5"/>
    <p:sldId id="2147374610" r:id="rId6"/>
    <p:sldId id="2147374597" r:id="rId7"/>
    <p:sldId id="539" r:id="rId8"/>
    <p:sldId id="537" r:id="rId9"/>
    <p:sldId id="538" r:id="rId10"/>
    <p:sldId id="2147374596" r:id="rId11"/>
    <p:sldId id="2147374599" r:id="rId12"/>
    <p:sldId id="2147374609" r:id="rId13"/>
    <p:sldId id="2147374622" r:id="rId14"/>
    <p:sldId id="2147374623" r:id="rId15"/>
    <p:sldId id="2147374624" r:id="rId16"/>
    <p:sldId id="2147374625" r:id="rId17"/>
    <p:sldId id="2147374626" r:id="rId18"/>
    <p:sldId id="2147374627" r:id="rId19"/>
    <p:sldId id="2147374598" r:id="rId20"/>
    <p:sldId id="2147374612" r:id="rId21"/>
    <p:sldId id="2147374614" r:id="rId22"/>
    <p:sldId id="2147374628" r:id="rId23"/>
    <p:sldId id="2147374629" r:id="rId24"/>
    <p:sldId id="2147374631" r:id="rId25"/>
    <p:sldId id="2147374630" r:id="rId26"/>
    <p:sldId id="2147374616" r:id="rId27"/>
    <p:sldId id="2147374613" r:id="rId28"/>
    <p:sldId id="2147374617" r:id="rId29"/>
    <p:sldId id="2147374619" r:id="rId30"/>
    <p:sldId id="2147374618" r:id="rId31"/>
    <p:sldId id="2145705551" r:id="rId32"/>
    <p:sldId id="2147374600" r:id="rId33"/>
    <p:sldId id="2147374603" r:id="rId34"/>
    <p:sldId id="2147374606" r:id="rId35"/>
    <p:sldId id="2147374607" r:id="rId36"/>
    <p:sldId id="2147374608" r:id="rId37"/>
  </p:sldIdLst>
  <p:sldSz cx="12192000" cy="6858000"/>
  <p:notesSz cx="7010400" cy="9296400"/>
  <p:embeddedFontLst>
    <p:embeddedFont>
      <p:font typeface="Arial Narrow" panose="020B0606020202030204" pitchFamily="34" charset="0"/>
      <p:regular r:id="rId40"/>
      <p:bold r:id="rId41"/>
      <p:italic r:id="rId42"/>
      <p:boldItalic r:id="rId43"/>
    </p:embeddedFont>
    <p:embeddedFont>
      <p:font typeface="Calibri" panose="020F0502020204030204" pitchFamily="34" charset="0"/>
      <p:regular r:id="rId44"/>
      <p:bold r:id="rId45"/>
      <p:italic r:id="rId46"/>
      <p:boldItalic r:id="rId47"/>
    </p:embeddedFont>
    <p:embeddedFont>
      <p:font typeface="PTCRaleway" panose="020B0503030101060003" pitchFamily="34" charset="0"/>
      <p:regular r:id="rId48"/>
      <p:bold r:id="rId49"/>
      <p:italic r:id="rId50"/>
      <p:boldItalic r:id="rId51"/>
    </p:embeddedFont>
    <p:embeddedFont>
      <p:font typeface="PTCRaleway Black" panose="020B0A03030101060003" pitchFamily="34" charset="0"/>
      <p:bold r:id="rId52"/>
      <p:boldItalic r:id="rId53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935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368" userDrawn="1">
          <p15:clr>
            <a:srgbClr val="A4A3A4"/>
          </p15:clr>
        </p15:guide>
        <p15:guide id="28" orient="horz" pos="4104" userDrawn="1">
          <p15:clr>
            <a:srgbClr val="A4A3A4"/>
          </p15:clr>
        </p15:guide>
        <p15:guide id="29" orient="horz" pos="12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13C"/>
    <a:srgbClr val="C37729"/>
    <a:srgbClr val="197BC0"/>
    <a:srgbClr val="D12C3A"/>
    <a:srgbClr val="F0F2F6"/>
    <a:srgbClr val="6CC04A"/>
    <a:srgbClr val="40AA2B"/>
    <a:srgbClr val="3D4647"/>
    <a:srgbClr val="AA9103"/>
    <a:srgbClr val="1258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502E34-CD3F-4101-BDED-2FBBD9BEBA2C}" v="328" dt="2022-11-23T12:03:35.646"/>
    <p1510:client id="{1A843F5D-FCC4-5A61-E422-D73817D44682}" v="56" dt="2023-01-11T08:33:30.900"/>
    <p1510:client id="{48C2B8ED-75AD-C195-E799-2332DC739837}" v="29" dt="2022-12-22T10:13:02.477"/>
    <p1510:client id="{81AC7835-7BBD-4108-DEF3-E3C2AAF62BA7}" v="429" dt="2023-01-11T12:07:09.262"/>
    <p1510:client id="{A3657FFC-9AAF-4480-9D62-5864E4079648}" v="795" dt="2022-12-13T19:52:29.55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96" y="144"/>
      </p:cViewPr>
      <p:guideLst>
        <p:guide orient="horz" pos="935"/>
        <p:guide orient="horz" pos="600"/>
        <p:guide pos="312"/>
        <p:guide pos="7368"/>
        <p:guide orient="horz" pos="4104"/>
        <p:guide orient="horz" pos="124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font" Target="fonts/font3.fntdata"/><Relationship Id="rId47" Type="http://schemas.openxmlformats.org/officeDocument/2006/relationships/font" Target="fonts/font8.fntdata"/><Relationship Id="rId50" Type="http://schemas.openxmlformats.org/officeDocument/2006/relationships/font" Target="fonts/font11.fntdata"/><Relationship Id="rId55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font" Target="fonts/font1.fntdata"/><Relationship Id="rId45" Type="http://schemas.openxmlformats.org/officeDocument/2006/relationships/font" Target="fonts/font6.fntdata"/><Relationship Id="rId53" Type="http://schemas.openxmlformats.org/officeDocument/2006/relationships/font" Target="fonts/font14.fntdata"/><Relationship Id="rId58" Type="http://schemas.openxmlformats.org/officeDocument/2006/relationships/tableStyles" Target="tableStyle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font" Target="fonts/font4.fntdata"/><Relationship Id="rId48" Type="http://schemas.openxmlformats.org/officeDocument/2006/relationships/font" Target="fonts/font9.fntdata"/><Relationship Id="rId56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font" Target="fonts/font12.fntdata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46" Type="http://schemas.openxmlformats.org/officeDocument/2006/relationships/font" Target="fonts/font7.fntdata"/><Relationship Id="rId59" Type="http://schemas.microsoft.com/office/2016/11/relationships/changesInfo" Target="changesInfos/changesInfo1.xml"/><Relationship Id="rId20" Type="http://schemas.openxmlformats.org/officeDocument/2006/relationships/slide" Target="slides/slide16.xml"/><Relationship Id="rId41" Type="http://schemas.openxmlformats.org/officeDocument/2006/relationships/font" Target="fonts/font2.fntdata"/><Relationship Id="rId54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font" Target="fonts/font10.fntdata"/><Relationship Id="rId57" Type="http://schemas.openxmlformats.org/officeDocument/2006/relationships/theme" Target="theme/theme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font" Target="fonts/font5.fntdata"/><Relationship Id="rId52" Type="http://schemas.openxmlformats.org/officeDocument/2006/relationships/font" Target="fonts/font13.fntdata"/><Relationship Id="rId6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lly, Tanupreet" userId="S::tjolly@ptc.com::2b9284cd-fe3f-4ab0-9d74-7ba141bd15e9" providerId="AD" clId="Web-{81AC7835-7BBD-4108-DEF3-E3C2AAF62BA7}"/>
    <pc:docChg chg="addSld delSld modSld sldOrd">
      <pc:chgData name="Jolly, Tanupreet" userId="S::tjolly@ptc.com::2b9284cd-fe3f-4ab0-9d74-7ba141bd15e9" providerId="AD" clId="Web-{81AC7835-7BBD-4108-DEF3-E3C2AAF62BA7}" dt="2023-01-11T12:07:09.262" v="313" actId="14100"/>
      <pc:docMkLst>
        <pc:docMk/>
      </pc:docMkLst>
      <pc:sldChg chg="modSp">
        <pc:chgData name="Jolly, Tanupreet" userId="S::tjolly@ptc.com::2b9284cd-fe3f-4ab0-9d74-7ba141bd15e9" providerId="AD" clId="Web-{81AC7835-7BBD-4108-DEF3-E3C2AAF62BA7}" dt="2023-01-09T06:35:05.280" v="23" actId="20577"/>
        <pc:sldMkLst>
          <pc:docMk/>
          <pc:sldMk cId="623287797" sldId="2147374609"/>
        </pc:sldMkLst>
        <pc:spChg chg="mod">
          <ac:chgData name="Jolly, Tanupreet" userId="S::tjolly@ptc.com::2b9284cd-fe3f-4ab0-9d74-7ba141bd15e9" providerId="AD" clId="Web-{81AC7835-7BBD-4108-DEF3-E3C2AAF62BA7}" dt="2023-01-09T06:35:05.280" v="23" actId="20577"/>
          <ac:spMkLst>
            <pc:docMk/>
            <pc:sldMk cId="623287797" sldId="2147374609"/>
            <ac:spMk id="2" creationId="{2710EA13-AB73-44AA-BAD2-FF6B2B750DD2}"/>
          </ac:spMkLst>
        </pc:spChg>
      </pc:sldChg>
      <pc:sldChg chg="addSp delSp modSp">
        <pc:chgData name="Jolly, Tanupreet" userId="S::tjolly@ptc.com::2b9284cd-fe3f-4ab0-9d74-7ba141bd15e9" providerId="AD" clId="Web-{81AC7835-7BBD-4108-DEF3-E3C2AAF62BA7}" dt="2023-01-11T11:53:15.200" v="270" actId="20577"/>
        <pc:sldMkLst>
          <pc:docMk/>
          <pc:sldMk cId="4087118746" sldId="2147374614"/>
        </pc:sldMkLst>
        <pc:spChg chg="add del mod">
          <ac:chgData name="Jolly, Tanupreet" userId="S::tjolly@ptc.com::2b9284cd-fe3f-4ab0-9d74-7ba141bd15e9" providerId="AD" clId="Web-{81AC7835-7BBD-4108-DEF3-E3C2AAF62BA7}" dt="2023-01-11T09:01:03.109" v="179"/>
          <ac:spMkLst>
            <pc:docMk/>
            <pc:sldMk cId="4087118746" sldId="2147374614"/>
            <ac:spMk id="3" creationId="{635E53D8-9539-ABB4-5FF2-64A0FEA9BB0B}"/>
          </ac:spMkLst>
        </pc:spChg>
        <pc:spChg chg="mod">
          <ac:chgData name="Jolly, Tanupreet" userId="S::tjolly@ptc.com::2b9284cd-fe3f-4ab0-9d74-7ba141bd15e9" providerId="AD" clId="Web-{81AC7835-7BBD-4108-DEF3-E3C2AAF62BA7}" dt="2023-01-11T08:52:40.604" v="146" actId="20577"/>
          <ac:spMkLst>
            <pc:docMk/>
            <pc:sldMk cId="4087118746" sldId="2147374614"/>
            <ac:spMk id="4" creationId="{1467EF75-7435-40D0-9F8D-E543F2587FDF}"/>
          </ac:spMkLst>
        </pc:spChg>
        <pc:spChg chg="mod">
          <ac:chgData name="Jolly, Tanupreet" userId="S::tjolly@ptc.com::2b9284cd-fe3f-4ab0-9d74-7ba141bd15e9" providerId="AD" clId="Web-{81AC7835-7BBD-4108-DEF3-E3C2AAF62BA7}" dt="2023-01-11T11:53:15.200" v="270" actId="20577"/>
          <ac:spMkLst>
            <pc:docMk/>
            <pc:sldMk cId="4087118746" sldId="2147374614"/>
            <ac:spMk id="5" creationId="{84960E64-9ACE-407E-A679-3A4649E47FE8}"/>
          </ac:spMkLst>
        </pc:spChg>
        <pc:picChg chg="add mod">
          <ac:chgData name="Jolly, Tanupreet" userId="S::tjolly@ptc.com::2b9284cd-fe3f-4ab0-9d74-7ba141bd15e9" providerId="AD" clId="Web-{81AC7835-7BBD-4108-DEF3-E3C2AAF62BA7}" dt="2023-01-11T09:00:00.669" v="171" actId="1076"/>
          <ac:picMkLst>
            <pc:docMk/>
            <pc:sldMk cId="4087118746" sldId="2147374614"/>
            <ac:picMk id="2" creationId="{80369592-0DEA-53F9-C509-F975B2DB88C4}"/>
          </ac:picMkLst>
        </pc:picChg>
      </pc:sldChg>
      <pc:sldChg chg="del">
        <pc:chgData name="Jolly, Tanupreet" userId="S::tjolly@ptc.com::2b9284cd-fe3f-4ab0-9d74-7ba141bd15e9" providerId="AD" clId="Web-{81AC7835-7BBD-4108-DEF3-E3C2AAF62BA7}" dt="2023-01-11T08:52:18.634" v="128"/>
        <pc:sldMkLst>
          <pc:docMk/>
          <pc:sldMk cId="2442380247" sldId="2147374615"/>
        </pc:sldMkLst>
      </pc:sldChg>
      <pc:sldChg chg="modSp del">
        <pc:chgData name="Jolly, Tanupreet" userId="S::tjolly@ptc.com::2b9284cd-fe3f-4ab0-9d74-7ba141bd15e9" providerId="AD" clId="Web-{81AC7835-7BBD-4108-DEF3-E3C2AAF62BA7}" dt="2023-01-09T07:17:06.038" v="107"/>
        <pc:sldMkLst>
          <pc:docMk/>
          <pc:sldMk cId="312617319" sldId="2147374620"/>
        </pc:sldMkLst>
        <pc:spChg chg="mod">
          <ac:chgData name="Jolly, Tanupreet" userId="S::tjolly@ptc.com::2b9284cd-fe3f-4ab0-9d74-7ba141bd15e9" providerId="AD" clId="Web-{81AC7835-7BBD-4108-DEF3-E3C2AAF62BA7}" dt="2023-01-09T07:04:05.723" v="106" actId="20577"/>
          <ac:spMkLst>
            <pc:docMk/>
            <pc:sldMk cId="312617319" sldId="2147374620"/>
            <ac:spMk id="2" creationId="{6D51A4E8-5C2E-44AC-9136-40C2CE297C35}"/>
          </ac:spMkLst>
        </pc:spChg>
      </pc:sldChg>
      <pc:sldChg chg="addSp delSp modSp add del replId">
        <pc:chgData name="Jolly, Tanupreet" userId="S::tjolly@ptc.com::2b9284cd-fe3f-4ab0-9d74-7ba141bd15e9" providerId="AD" clId="Web-{81AC7835-7BBD-4108-DEF3-E3C2AAF62BA7}" dt="2023-01-09T06:37:29.695" v="58"/>
        <pc:sldMkLst>
          <pc:docMk/>
          <pc:sldMk cId="1009060908" sldId="2147374621"/>
        </pc:sldMkLst>
        <pc:spChg chg="mod">
          <ac:chgData name="Jolly, Tanupreet" userId="S::tjolly@ptc.com::2b9284cd-fe3f-4ab0-9d74-7ba141bd15e9" providerId="AD" clId="Web-{81AC7835-7BBD-4108-DEF3-E3C2AAF62BA7}" dt="2023-01-09T06:35:13.282" v="25" actId="20577"/>
          <ac:spMkLst>
            <pc:docMk/>
            <pc:sldMk cId="1009060908" sldId="2147374621"/>
            <ac:spMk id="2" creationId="{2710EA13-AB73-44AA-BAD2-FF6B2B750DD2}"/>
          </ac:spMkLst>
        </pc:spChg>
        <pc:spChg chg="mod">
          <ac:chgData name="Jolly, Tanupreet" userId="S::tjolly@ptc.com::2b9284cd-fe3f-4ab0-9d74-7ba141bd15e9" providerId="AD" clId="Web-{81AC7835-7BBD-4108-DEF3-E3C2AAF62BA7}" dt="2023-01-09T06:35:52.830" v="45" actId="20577"/>
          <ac:spMkLst>
            <pc:docMk/>
            <pc:sldMk cId="1009060908" sldId="2147374621"/>
            <ac:spMk id="3" creationId="{F0031CE7-8972-4DA8-8E68-01FC05134F3F}"/>
          </ac:spMkLst>
        </pc:spChg>
        <pc:spChg chg="add del mod">
          <ac:chgData name="Jolly, Tanupreet" userId="S::tjolly@ptc.com::2b9284cd-fe3f-4ab0-9d74-7ba141bd15e9" providerId="AD" clId="Web-{81AC7835-7BBD-4108-DEF3-E3C2AAF62BA7}" dt="2023-01-09T06:36:06.693" v="49"/>
          <ac:spMkLst>
            <pc:docMk/>
            <pc:sldMk cId="1009060908" sldId="2147374621"/>
            <ac:spMk id="4" creationId="{47A861E6-9283-584D-C241-B71AAC778A3C}"/>
          </ac:spMkLst>
        </pc:spChg>
      </pc:sldChg>
      <pc:sldChg chg="addSp delSp modSp new ord">
        <pc:chgData name="Jolly, Tanupreet" userId="S::tjolly@ptc.com::2b9284cd-fe3f-4ab0-9d74-7ba141bd15e9" providerId="AD" clId="Web-{81AC7835-7BBD-4108-DEF3-E3C2AAF62BA7}" dt="2023-01-09T07:00:27.357" v="101" actId="14100"/>
        <pc:sldMkLst>
          <pc:docMk/>
          <pc:sldMk cId="186082116" sldId="2147374622"/>
        </pc:sldMkLst>
        <pc:spChg chg="del">
          <ac:chgData name="Jolly, Tanupreet" userId="S::tjolly@ptc.com::2b9284cd-fe3f-4ab0-9d74-7ba141bd15e9" providerId="AD" clId="Web-{81AC7835-7BBD-4108-DEF3-E3C2AAF62BA7}" dt="2023-01-09T06:36:49.788" v="51"/>
          <ac:spMkLst>
            <pc:docMk/>
            <pc:sldMk cId="186082116" sldId="2147374622"/>
            <ac:spMk id="2" creationId="{DDA3EA51-88E3-634F-96A5-3D2F14CF1FCA}"/>
          </ac:spMkLst>
        </pc:spChg>
        <pc:spChg chg="del mod">
          <ac:chgData name="Jolly, Tanupreet" userId="S::tjolly@ptc.com::2b9284cd-fe3f-4ab0-9d74-7ba141bd15e9" providerId="AD" clId="Web-{81AC7835-7BBD-4108-DEF3-E3C2AAF62BA7}" dt="2023-01-09T06:37:55.305" v="59"/>
          <ac:spMkLst>
            <pc:docMk/>
            <pc:sldMk cId="186082116" sldId="2147374622"/>
            <ac:spMk id="3" creationId="{BF38C9D6-4231-FCF6-399D-D058A8FAC239}"/>
          </ac:spMkLst>
        </pc:spChg>
        <pc:spChg chg="add del mod">
          <ac:chgData name="Jolly, Tanupreet" userId="S::tjolly@ptc.com::2b9284cd-fe3f-4ab0-9d74-7ba141bd15e9" providerId="AD" clId="Web-{81AC7835-7BBD-4108-DEF3-E3C2AAF62BA7}" dt="2023-01-09T06:39:25.980" v="67"/>
          <ac:spMkLst>
            <pc:docMk/>
            <pc:sldMk cId="186082116" sldId="2147374622"/>
            <ac:spMk id="6" creationId="{C8644B47-D76E-FBC1-D10F-332BD77C387D}"/>
          </ac:spMkLst>
        </pc:spChg>
        <pc:picChg chg="add mod ord">
          <ac:chgData name="Jolly, Tanupreet" userId="S::tjolly@ptc.com::2b9284cd-fe3f-4ab0-9d74-7ba141bd15e9" providerId="AD" clId="Web-{81AC7835-7BBD-4108-DEF3-E3C2AAF62BA7}" dt="2023-01-09T07:00:27.357" v="101" actId="14100"/>
          <ac:picMkLst>
            <pc:docMk/>
            <pc:sldMk cId="186082116" sldId="2147374622"/>
            <ac:picMk id="4" creationId="{D34DD613-1CF8-7FF5-F0C0-8B23F25DF1E0}"/>
          </ac:picMkLst>
        </pc:picChg>
      </pc:sldChg>
      <pc:sldChg chg="addSp delSp modSp new">
        <pc:chgData name="Jolly, Tanupreet" userId="S::tjolly@ptc.com::2b9284cd-fe3f-4ab0-9d74-7ba141bd15e9" providerId="AD" clId="Web-{81AC7835-7BBD-4108-DEF3-E3C2AAF62BA7}" dt="2023-01-09T06:59:57.997" v="98" actId="14100"/>
        <pc:sldMkLst>
          <pc:docMk/>
          <pc:sldMk cId="2526447215" sldId="2147374623"/>
        </pc:sldMkLst>
        <pc:spChg chg="del">
          <ac:chgData name="Jolly, Tanupreet" userId="S::tjolly@ptc.com::2b9284cd-fe3f-4ab0-9d74-7ba141bd15e9" providerId="AD" clId="Web-{81AC7835-7BBD-4108-DEF3-E3C2AAF62BA7}" dt="2023-01-09T06:38:47.463" v="62"/>
          <ac:spMkLst>
            <pc:docMk/>
            <pc:sldMk cId="2526447215" sldId="2147374623"/>
            <ac:spMk id="2" creationId="{4EBCB501-98E6-EF99-0BCD-CBC8BCD82072}"/>
          </ac:spMkLst>
        </pc:spChg>
        <pc:spChg chg="del">
          <ac:chgData name="Jolly, Tanupreet" userId="S::tjolly@ptc.com::2b9284cd-fe3f-4ab0-9d74-7ba141bd15e9" providerId="AD" clId="Web-{81AC7835-7BBD-4108-DEF3-E3C2AAF62BA7}" dt="2023-01-09T06:39:16.292" v="65"/>
          <ac:spMkLst>
            <pc:docMk/>
            <pc:sldMk cId="2526447215" sldId="2147374623"/>
            <ac:spMk id="3" creationId="{9ADE4733-F110-CBA7-33CA-B046E7329313}"/>
          </ac:spMkLst>
        </pc:spChg>
        <pc:spChg chg="add del mod">
          <ac:chgData name="Jolly, Tanupreet" userId="S::tjolly@ptc.com::2b9284cd-fe3f-4ab0-9d74-7ba141bd15e9" providerId="AD" clId="Web-{81AC7835-7BBD-4108-DEF3-E3C2AAF62BA7}" dt="2023-01-09T06:39:03.948" v="64"/>
          <ac:spMkLst>
            <pc:docMk/>
            <pc:sldMk cId="2526447215" sldId="2147374623"/>
            <ac:spMk id="6" creationId="{52E25902-F084-E948-E5A5-D8ADC68225D5}"/>
          </ac:spMkLst>
        </pc:spChg>
        <pc:picChg chg="add del mod ord">
          <ac:chgData name="Jolly, Tanupreet" userId="S::tjolly@ptc.com::2b9284cd-fe3f-4ab0-9d74-7ba141bd15e9" providerId="AD" clId="Web-{81AC7835-7BBD-4108-DEF3-E3C2AAF62BA7}" dt="2023-01-09T06:39:00.307" v="63"/>
          <ac:picMkLst>
            <pc:docMk/>
            <pc:sldMk cId="2526447215" sldId="2147374623"/>
            <ac:picMk id="4" creationId="{2642D671-6C9A-E4FB-C465-137820AE6B84}"/>
          </ac:picMkLst>
        </pc:picChg>
        <pc:picChg chg="add mod ord">
          <ac:chgData name="Jolly, Tanupreet" userId="S::tjolly@ptc.com::2b9284cd-fe3f-4ab0-9d74-7ba141bd15e9" providerId="AD" clId="Web-{81AC7835-7BBD-4108-DEF3-E3C2AAF62BA7}" dt="2023-01-09T06:59:57.997" v="98" actId="14100"/>
          <ac:picMkLst>
            <pc:docMk/>
            <pc:sldMk cId="2526447215" sldId="2147374623"/>
            <ac:picMk id="7" creationId="{0D4018ED-C12C-F3AC-11E3-382B3947A7D2}"/>
          </ac:picMkLst>
        </pc:picChg>
        <pc:picChg chg="add del mod">
          <ac:chgData name="Jolly, Tanupreet" userId="S::tjolly@ptc.com::2b9284cd-fe3f-4ab0-9d74-7ba141bd15e9" providerId="AD" clId="Web-{81AC7835-7BBD-4108-DEF3-E3C2AAF62BA7}" dt="2023-01-09T06:42:40.328" v="70"/>
          <ac:picMkLst>
            <pc:docMk/>
            <pc:sldMk cId="2526447215" sldId="2147374623"/>
            <ac:picMk id="8" creationId="{7D7E4649-03C0-5D7A-DE50-6444666C1356}"/>
          </ac:picMkLst>
        </pc:picChg>
      </pc:sldChg>
      <pc:sldChg chg="addSp delSp modSp new">
        <pc:chgData name="Jolly, Tanupreet" userId="S::tjolly@ptc.com::2b9284cd-fe3f-4ab0-9d74-7ba141bd15e9" providerId="AD" clId="Web-{81AC7835-7BBD-4108-DEF3-E3C2AAF62BA7}" dt="2023-01-09T06:45:52.443" v="95" actId="14100"/>
        <pc:sldMkLst>
          <pc:docMk/>
          <pc:sldMk cId="3254079754" sldId="2147374624"/>
        </pc:sldMkLst>
        <pc:spChg chg="del">
          <ac:chgData name="Jolly, Tanupreet" userId="S::tjolly@ptc.com::2b9284cd-fe3f-4ab0-9d74-7ba141bd15e9" providerId="AD" clId="Web-{81AC7835-7BBD-4108-DEF3-E3C2AAF62BA7}" dt="2023-01-09T06:43:34.017" v="75"/>
          <ac:spMkLst>
            <pc:docMk/>
            <pc:sldMk cId="3254079754" sldId="2147374624"/>
            <ac:spMk id="2" creationId="{CECE6313-FEA7-C80B-67DA-ED0AF148498E}"/>
          </ac:spMkLst>
        </pc:spChg>
        <pc:spChg chg="del">
          <ac:chgData name="Jolly, Tanupreet" userId="S::tjolly@ptc.com::2b9284cd-fe3f-4ab0-9d74-7ba141bd15e9" providerId="AD" clId="Web-{81AC7835-7BBD-4108-DEF3-E3C2AAF62BA7}" dt="2023-01-09T06:45:40.724" v="92"/>
          <ac:spMkLst>
            <pc:docMk/>
            <pc:sldMk cId="3254079754" sldId="2147374624"/>
            <ac:spMk id="3" creationId="{785E276D-B75E-F1C4-0AEC-E0BCE23886DE}"/>
          </ac:spMkLst>
        </pc:spChg>
        <pc:picChg chg="add mod ord">
          <ac:chgData name="Jolly, Tanupreet" userId="S::tjolly@ptc.com::2b9284cd-fe3f-4ab0-9d74-7ba141bd15e9" providerId="AD" clId="Web-{81AC7835-7BBD-4108-DEF3-E3C2AAF62BA7}" dt="2023-01-09T06:45:52.443" v="95" actId="14100"/>
          <ac:picMkLst>
            <pc:docMk/>
            <pc:sldMk cId="3254079754" sldId="2147374624"/>
            <ac:picMk id="4" creationId="{75E91606-A48B-EC6F-3BF8-A36B5132C611}"/>
          </ac:picMkLst>
        </pc:picChg>
      </pc:sldChg>
      <pc:sldChg chg="addSp delSp modSp new">
        <pc:chgData name="Jolly, Tanupreet" userId="S::tjolly@ptc.com::2b9284cd-fe3f-4ab0-9d74-7ba141bd15e9" providerId="AD" clId="Web-{81AC7835-7BBD-4108-DEF3-E3C2AAF62BA7}" dt="2023-01-09T06:45:35.302" v="91" actId="14100"/>
        <pc:sldMkLst>
          <pc:docMk/>
          <pc:sldMk cId="4011987471" sldId="2147374625"/>
        </pc:sldMkLst>
        <pc:spChg chg="del">
          <ac:chgData name="Jolly, Tanupreet" userId="S::tjolly@ptc.com::2b9284cd-fe3f-4ab0-9d74-7ba141bd15e9" providerId="AD" clId="Web-{81AC7835-7BBD-4108-DEF3-E3C2AAF62BA7}" dt="2023-01-09T06:43:50.815" v="76"/>
          <ac:spMkLst>
            <pc:docMk/>
            <pc:sldMk cId="4011987471" sldId="2147374625"/>
            <ac:spMk id="2" creationId="{79C96801-A221-0119-B857-73DA29556569}"/>
          </ac:spMkLst>
        </pc:spChg>
        <pc:spChg chg="del">
          <ac:chgData name="Jolly, Tanupreet" userId="S::tjolly@ptc.com::2b9284cd-fe3f-4ab0-9d74-7ba141bd15e9" providerId="AD" clId="Web-{81AC7835-7BBD-4108-DEF3-E3C2AAF62BA7}" dt="2023-01-09T06:45:16.801" v="87"/>
          <ac:spMkLst>
            <pc:docMk/>
            <pc:sldMk cId="4011987471" sldId="2147374625"/>
            <ac:spMk id="3" creationId="{DAEFE5DC-A89D-689A-7273-0E254966C48E}"/>
          </ac:spMkLst>
        </pc:spChg>
        <pc:picChg chg="add mod ord">
          <ac:chgData name="Jolly, Tanupreet" userId="S::tjolly@ptc.com::2b9284cd-fe3f-4ab0-9d74-7ba141bd15e9" providerId="AD" clId="Web-{81AC7835-7BBD-4108-DEF3-E3C2AAF62BA7}" dt="2023-01-09T06:45:35.302" v="91" actId="14100"/>
          <ac:picMkLst>
            <pc:docMk/>
            <pc:sldMk cId="4011987471" sldId="2147374625"/>
            <ac:picMk id="4" creationId="{3CD2D135-C4F1-B5CC-CE36-10D14166863E}"/>
          </ac:picMkLst>
        </pc:picChg>
      </pc:sldChg>
      <pc:sldChg chg="addSp delSp modSp new">
        <pc:chgData name="Jolly, Tanupreet" userId="S::tjolly@ptc.com::2b9284cd-fe3f-4ab0-9d74-7ba141bd15e9" providerId="AD" clId="Web-{81AC7835-7BBD-4108-DEF3-E3C2AAF62BA7}" dt="2023-01-09T06:45:12.145" v="86" actId="14100"/>
        <pc:sldMkLst>
          <pc:docMk/>
          <pc:sldMk cId="3739080854" sldId="2147374626"/>
        </pc:sldMkLst>
        <pc:spChg chg="del">
          <ac:chgData name="Jolly, Tanupreet" userId="S::tjolly@ptc.com::2b9284cd-fe3f-4ab0-9d74-7ba141bd15e9" providerId="AD" clId="Web-{81AC7835-7BBD-4108-DEF3-E3C2AAF62BA7}" dt="2023-01-09T06:44:08.128" v="77"/>
          <ac:spMkLst>
            <pc:docMk/>
            <pc:sldMk cId="3739080854" sldId="2147374626"/>
            <ac:spMk id="2" creationId="{85E25C52-474A-8896-4A51-81B52A468E80}"/>
          </ac:spMkLst>
        </pc:spChg>
        <pc:spChg chg="del">
          <ac:chgData name="Jolly, Tanupreet" userId="S::tjolly@ptc.com::2b9284cd-fe3f-4ab0-9d74-7ba141bd15e9" providerId="AD" clId="Web-{81AC7835-7BBD-4108-DEF3-E3C2AAF62BA7}" dt="2023-01-09T06:45:00.613" v="83"/>
          <ac:spMkLst>
            <pc:docMk/>
            <pc:sldMk cId="3739080854" sldId="2147374626"/>
            <ac:spMk id="3" creationId="{EFAF1DD8-D8AB-D047-5161-240DDB26F63D}"/>
          </ac:spMkLst>
        </pc:spChg>
        <pc:picChg chg="add mod ord">
          <ac:chgData name="Jolly, Tanupreet" userId="S::tjolly@ptc.com::2b9284cd-fe3f-4ab0-9d74-7ba141bd15e9" providerId="AD" clId="Web-{81AC7835-7BBD-4108-DEF3-E3C2AAF62BA7}" dt="2023-01-09T06:45:12.145" v="86" actId="14100"/>
          <ac:picMkLst>
            <pc:docMk/>
            <pc:sldMk cId="3739080854" sldId="2147374626"/>
            <ac:picMk id="4" creationId="{7661469F-8427-1F97-1EB6-1F5474AB53C3}"/>
          </ac:picMkLst>
        </pc:picChg>
      </pc:sldChg>
      <pc:sldChg chg="addSp delSp modSp new">
        <pc:chgData name="Jolly, Tanupreet" userId="S::tjolly@ptc.com::2b9284cd-fe3f-4ab0-9d74-7ba141bd15e9" providerId="AD" clId="Web-{81AC7835-7BBD-4108-DEF3-E3C2AAF62BA7}" dt="2023-01-09T06:44:55.941" v="82" actId="14100"/>
        <pc:sldMkLst>
          <pc:docMk/>
          <pc:sldMk cId="550288229" sldId="2147374627"/>
        </pc:sldMkLst>
        <pc:spChg chg="del">
          <ac:chgData name="Jolly, Tanupreet" userId="S::tjolly@ptc.com::2b9284cd-fe3f-4ab0-9d74-7ba141bd15e9" providerId="AD" clId="Web-{81AC7835-7BBD-4108-DEF3-E3C2AAF62BA7}" dt="2023-01-09T06:44:23.925" v="78"/>
          <ac:spMkLst>
            <pc:docMk/>
            <pc:sldMk cId="550288229" sldId="2147374627"/>
            <ac:spMk id="2" creationId="{FC2073C0-7D46-9E23-E694-F43909D145CE}"/>
          </ac:spMkLst>
        </pc:spChg>
        <pc:spChg chg="del">
          <ac:chgData name="Jolly, Tanupreet" userId="S::tjolly@ptc.com::2b9284cd-fe3f-4ab0-9d74-7ba141bd15e9" providerId="AD" clId="Web-{81AC7835-7BBD-4108-DEF3-E3C2AAF62BA7}" dt="2023-01-09T06:44:42.675" v="79"/>
          <ac:spMkLst>
            <pc:docMk/>
            <pc:sldMk cId="550288229" sldId="2147374627"/>
            <ac:spMk id="3" creationId="{14970882-B237-C9DA-C248-F965AE945308}"/>
          </ac:spMkLst>
        </pc:spChg>
        <pc:picChg chg="add mod ord">
          <ac:chgData name="Jolly, Tanupreet" userId="S::tjolly@ptc.com::2b9284cd-fe3f-4ab0-9d74-7ba141bd15e9" providerId="AD" clId="Web-{81AC7835-7BBD-4108-DEF3-E3C2AAF62BA7}" dt="2023-01-09T06:44:55.941" v="82" actId="14100"/>
          <ac:picMkLst>
            <pc:docMk/>
            <pc:sldMk cId="550288229" sldId="2147374627"/>
            <ac:picMk id="4" creationId="{2B1417D9-BBA4-003D-E71D-BF48023ACDAB}"/>
          </ac:picMkLst>
        </pc:picChg>
      </pc:sldChg>
      <pc:sldChg chg="addSp delSp modSp add replId">
        <pc:chgData name="Jolly, Tanupreet" userId="S::tjolly@ptc.com::2b9284cd-fe3f-4ab0-9d74-7ba141bd15e9" providerId="AD" clId="Web-{81AC7835-7BBD-4108-DEF3-E3C2AAF62BA7}" dt="2023-01-11T11:53:07.981" v="259" actId="20577"/>
        <pc:sldMkLst>
          <pc:docMk/>
          <pc:sldMk cId="2172871295" sldId="2147374628"/>
        </pc:sldMkLst>
        <pc:spChg chg="mod">
          <ac:chgData name="Jolly, Tanupreet" userId="S::tjolly@ptc.com::2b9284cd-fe3f-4ab0-9d74-7ba141bd15e9" providerId="AD" clId="Web-{81AC7835-7BBD-4108-DEF3-E3C2AAF62BA7}" dt="2023-01-11T09:01:38.470" v="188" actId="20577"/>
          <ac:spMkLst>
            <pc:docMk/>
            <pc:sldMk cId="2172871295" sldId="2147374628"/>
            <ac:spMk id="4" creationId="{1467EF75-7435-40D0-9F8D-E543F2587FDF}"/>
          </ac:spMkLst>
        </pc:spChg>
        <pc:spChg chg="mod">
          <ac:chgData name="Jolly, Tanupreet" userId="S::tjolly@ptc.com::2b9284cd-fe3f-4ab0-9d74-7ba141bd15e9" providerId="AD" clId="Web-{81AC7835-7BBD-4108-DEF3-E3C2AAF62BA7}" dt="2023-01-11T11:53:07.981" v="259" actId="20577"/>
          <ac:spMkLst>
            <pc:docMk/>
            <pc:sldMk cId="2172871295" sldId="2147374628"/>
            <ac:spMk id="5" creationId="{84960E64-9ACE-407E-A679-3A4649E47FE8}"/>
          </ac:spMkLst>
        </pc:spChg>
        <pc:picChg chg="del">
          <ac:chgData name="Jolly, Tanupreet" userId="S::tjolly@ptc.com::2b9284cd-fe3f-4ab0-9d74-7ba141bd15e9" providerId="AD" clId="Web-{81AC7835-7BBD-4108-DEF3-E3C2AAF62BA7}" dt="2023-01-11T08:54:19.249" v="153"/>
          <ac:picMkLst>
            <pc:docMk/>
            <pc:sldMk cId="2172871295" sldId="2147374628"/>
            <ac:picMk id="2" creationId="{80369592-0DEA-53F9-C509-F975B2DB88C4}"/>
          </ac:picMkLst>
        </pc:picChg>
        <pc:picChg chg="add mod">
          <ac:chgData name="Jolly, Tanupreet" userId="S::tjolly@ptc.com::2b9284cd-fe3f-4ab0-9d74-7ba141bd15e9" providerId="AD" clId="Web-{81AC7835-7BBD-4108-DEF3-E3C2AAF62BA7}" dt="2023-01-11T08:58:38.931" v="165" actId="14100"/>
          <ac:picMkLst>
            <pc:docMk/>
            <pc:sldMk cId="2172871295" sldId="2147374628"/>
            <ac:picMk id="3" creationId="{0873ADB4-35D2-7781-07FB-B2DA1256CB3D}"/>
          </ac:picMkLst>
        </pc:picChg>
      </pc:sldChg>
      <pc:sldChg chg="addSp delSp modSp add replId">
        <pc:chgData name="Jolly, Tanupreet" userId="S::tjolly@ptc.com::2b9284cd-fe3f-4ab0-9d74-7ba141bd15e9" providerId="AD" clId="Web-{81AC7835-7BBD-4108-DEF3-E3C2AAF62BA7}" dt="2023-01-11T11:53:01.418" v="249" actId="20577"/>
        <pc:sldMkLst>
          <pc:docMk/>
          <pc:sldMk cId="648266350" sldId="2147374629"/>
        </pc:sldMkLst>
        <pc:spChg chg="mod">
          <ac:chgData name="Jolly, Tanupreet" userId="S::tjolly@ptc.com::2b9284cd-fe3f-4ab0-9d74-7ba141bd15e9" providerId="AD" clId="Web-{81AC7835-7BBD-4108-DEF3-E3C2AAF62BA7}" dt="2023-01-11T09:02:39.066" v="208" actId="20577"/>
          <ac:spMkLst>
            <pc:docMk/>
            <pc:sldMk cId="648266350" sldId="2147374629"/>
            <ac:spMk id="4" creationId="{1467EF75-7435-40D0-9F8D-E543F2587FDF}"/>
          </ac:spMkLst>
        </pc:spChg>
        <pc:spChg chg="mod">
          <ac:chgData name="Jolly, Tanupreet" userId="S::tjolly@ptc.com::2b9284cd-fe3f-4ab0-9d74-7ba141bd15e9" providerId="AD" clId="Web-{81AC7835-7BBD-4108-DEF3-E3C2AAF62BA7}" dt="2023-01-11T11:53:01.418" v="249" actId="20577"/>
          <ac:spMkLst>
            <pc:docMk/>
            <pc:sldMk cId="648266350" sldId="2147374629"/>
            <ac:spMk id="5" creationId="{84960E64-9ACE-407E-A679-3A4649E47FE8}"/>
          </ac:spMkLst>
        </pc:spChg>
        <pc:picChg chg="add mod">
          <ac:chgData name="Jolly, Tanupreet" userId="S::tjolly@ptc.com::2b9284cd-fe3f-4ab0-9d74-7ba141bd15e9" providerId="AD" clId="Web-{81AC7835-7BBD-4108-DEF3-E3C2AAF62BA7}" dt="2023-01-11T09:08:45.929" v="219" actId="14100"/>
          <ac:picMkLst>
            <pc:docMk/>
            <pc:sldMk cId="648266350" sldId="2147374629"/>
            <ac:picMk id="2" creationId="{7187B029-D457-729F-19A2-DBDD9DAE01EE}"/>
          </ac:picMkLst>
        </pc:picChg>
        <pc:picChg chg="del">
          <ac:chgData name="Jolly, Tanupreet" userId="S::tjolly@ptc.com::2b9284cd-fe3f-4ab0-9d74-7ba141bd15e9" providerId="AD" clId="Web-{81AC7835-7BBD-4108-DEF3-E3C2AAF62BA7}" dt="2023-01-11T09:02:52.223" v="211"/>
          <ac:picMkLst>
            <pc:docMk/>
            <pc:sldMk cId="648266350" sldId="2147374629"/>
            <ac:picMk id="3" creationId="{0873ADB4-35D2-7781-07FB-B2DA1256CB3D}"/>
          </ac:picMkLst>
        </pc:picChg>
      </pc:sldChg>
      <pc:sldChg chg="addSp delSp modSp add replId">
        <pc:chgData name="Jolly, Tanupreet" userId="S::tjolly@ptc.com::2b9284cd-fe3f-4ab0-9d74-7ba141bd15e9" providerId="AD" clId="Web-{81AC7835-7BBD-4108-DEF3-E3C2AAF62BA7}" dt="2023-01-11T11:58:15.717" v="298" actId="20577"/>
        <pc:sldMkLst>
          <pc:docMk/>
          <pc:sldMk cId="4285970056" sldId="2147374630"/>
        </pc:sldMkLst>
        <pc:spChg chg="mod">
          <ac:chgData name="Jolly, Tanupreet" userId="S::tjolly@ptc.com::2b9284cd-fe3f-4ab0-9d74-7ba141bd15e9" providerId="AD" clId="Web-{81AC7835-7BBD-4108-DEF3-E3C2AAF62BA7}" dt="2023-01-11T11:52:48.292" v="237" actId="20577"/>
          <ac:spMkLst>
            <pc:docMk/>
            <pc:sldMk cId="4285970056" sldId="2147374630"/>
            <ac:spMk id="4" creationId="{1467EF75-7435-40D0-9F8D-E543F2587FDF}"/>
          </ac:spMkLst>
        </pc:spChg>
        <pc:spChg chg="mod">
          <ac:chgData name="Jolly, Tanupreet" userId="S::tjolly@ptc.com::2b9284cd-fe3f-4ab0-9d74-7ba141bd15e9" providerId="AD" clId="Web-{81AC7835-7BBD-4108-DEF3-E3C2AAF62BA7}" dt="2023-01-11T11:58:15.717" v="298" actId="20577"/>
          <ac:spMkLst>
            <pc:docMk/>
            <pc:sldMk cId="4285970056" sldId="2147374630"/>
            <ac:spMk id="5" creationId="{84960E64-9ACE-407E-A679-3A4649E47FE8}"/>
          </ac:spMkLst>
        </pc:spChg>
        <pc:picChg chg="del">
          <ac:chgData name="Jolly, Tanupreet" userId="S::tjolly@ptc.com::2b9284cd-fe3f-4ab0-9d74-7ba141bd15e9" providerId="AD" clId="Web-{81AC7835-7BBD-4108-DEF3-E3C2AAF62BA7}" dt="2023-01-11T11:52:50.449" v="238"/>
          <ac:picMkLst>
            <pc:docMk/>
            <pc:sldMk cId="4285970056" sldId="2147374630"/>
            <ac:picMk id="2" creationId="{7187B029-D457-729F-19A2-DBDD9DAE01EE}"/>
          </ac:picMkLst>
        </pc:picChg>
        <pc:picChg chg="add mod">
          <ac:chgData name="Jolly, Tanupreet" userId="S::tjolly@ptc.com::2b9284cd-fe3f-4ab0-9d74-7ba141bd15e9" providerId="AD" clId="Web-{81AC7835-7BBD-4108-DEF3-E3C2AAF62BA7}" dt="2023-01-11T11:57:58.857" v="295" actId="14100"/>
          <ac:picMkLst>
            <pc:docMk/>
            <pc:sldMk cId="4285970056" sldId="2147374630"/>
            <ac:picMk id="3" creationId="{902A26BE-9833-AA99-E48F-ADFE431523DA}"/>
          </ac:picMkLst>
        </pc:picChg>
      </pc:sldChg>
      <pc:sldChg chg="addSp delSp modSp add replId">
        <pc:chgData name="Jolly, Tanupreet" userId="S::tjolly@ptc.com::2b9284cd-fe3f-4ab0-9d74-7ba141bd15e9" providerId="AD" clId="Web-{81AC7835-7BBD-4108-DEF3-E3C2AAF62BA7}" dt="2023-01-11T12:07:09.262" v="313" actId="14100"/>
        <pc:sldMkLst>
          <pc:docMk/>
          <pc:sldMk cId="1564207145" sldId="2147374631"/>
        </pc:sldMkLst>
        <pc:spChg chg="mod">
          <ac:chgData name="Jolly, Tanupreet" userId="S::tjolly@ptc.com::2b9284cd-fe3f-4ab0-9d74-7ba141bd15e9" providerId="AD" clId="Web-{81AC7835-7BBD-4108-DEF3-E3C2AAF62BA7}" dt="2023-01-11T11:59:30.377" v="305" actId="20577"/>
          <ac:spMkLst>
            <pc:docMk/>
            <pc:sldMk cId="1564207145" sldId="2147374631"/>
            <ac:spMk id="4" creationId="{1467EF75-7435-40D0-9F8D-E543F2587FDF}"/>
          </ac:spMkLst>
        </pc:spChg>
        <pc:spChg chg="mod">
          <ac:chgData name="Jolly, Tanupreet" userId="S::tjolly@ptc.com::2b9284cd-fe3f-4ab0-9d74-7ba141bd15e9" providerId="AD" clId="Web-{81AC7835-7BBD-4108-DEF3-E3C2AAF62BA7}" dt="2023-01-11T11:59:46.472" v="308" actId="20577"/>
          <ac:spMkLst>
            <pc:docMk/>
            <pc:sldMk cId="1564207145" sldId="2147374631"/>
            <ac:spMk id="5" creationId="{84960E64-9ACE-407E-A679-3A4649E47FE8}"/>
          </ac:spMkLst>
        </pc:spChg>
        <pc:picChg chg="del">
          <ac:chgData name="Jolly, Tanupreet" userId="S::tjolly@ptc.com::2b9284cd-fe3f-4ab0-9d74-7ba141bd15e9" providerId="AD" clId="Web-{81AC7835-7BBD-4108-DEF3-E3C2AAF62BA7}" dt="2023-01-11T11:59:32.799" v="306"/>
          <ac:picMkLst>
            <pc:docMk/>
            <pc:sldMk cId="1564207145" sldId="2147374631"/>
            <ac:picMk id="2" creationId="{7187B029-D457-729F-19A2-DBDD9DAE01EE}"/>
          </ac:picMkLst>
        </pc:picChg>
        <pc:picChg chg="add mod">
          <ac:chgData name="Jolly, Tanupreet" userId="S::tjolly@ptc.com::2b9284cd-fe3f-4ab0-9d74-7ba141bd15e9" providerId="AD" clId="Web-{81AC7835-7BBD-4108-DEF3-E3C2AAF62BA7}" dt="2023-01-11T12:07:09.262" v="313" actId="14100"/>
          <ac:picMkLst>
            <pc:docMk/>
            <pc:sldMk cId="1564207145" sldId="2147374631"/>
            <ac:picMk id="3" creationId="{D7EE8949-2B5C-32BA-B17B-81ABA06FCAEA}"/>
          </ac:picMkLst>
        </pc:picChg>
      </pc:sldChg>
    </pc:docChg>
  </pc:docChgLst>
  <pc:docChgLst>
    <pc:chgData name="Jolly, Tanupreet" userId="S::tjolly@ptc.com::2b9284cd-fe3f-4ab0-9d74-7ba141bd15e9" providerId="AD" clId="Web-{48C2B8ED-75AD-C195-E799-2332DC739837}"/>
    <pc:docChg chg="modSld">
      <pc:chgData name="Jolly, Tanupreet" userId="S::tjolly@ptc.com::2b9284cd-fe3f-4ab0-9d74-7ba141bd15e9" providerId="AD" clId="Web-{48C2B8ED-75AD-C195-E799-2332DC739837}" dt="2022-12-22T10:13:02.477" v="23" actId="20577"/>
      <pc:docMkLst>
        <pc:docMk/>
      </pc:docMkLst>
      <pc:sldChg chg="addSp delSp modSp">
        <pc:chgData name="Jolly, Tanupreet" userId="S::tjolly@ptc.com::2b9284cd-fe3f-4ab0-9d74-7ba141bd15e9" providerId="AD" clId="Web-{48C2B8ED-75AD-C195-E799-2332DC739837}" dt="2022-12-22T10:13:02.477" v="23" actId="20577"/>
        <pc:sldMkLst>
          <pc:docMk/>
          <pc:sldMk cId="623287797" sldId="2147374609"/>
        </pc:sldMkLst>
        <pc:spChg chg="mod">
          <ac:chgData name="Jolly, Tanupreet" userId="S::tjolly@ptc.com::2b9284cd-fe3f-4ab0-9d74-7ba141bd15e9" providerId="AD" clId="Web-{48C2B8ED-75AD-C195-E799-2332DC739837}" dt="2022-12-22T10:13:02.477" v="23" actId="20577"/>
          <ac:spMkLst>
            <pc:docMk/>
            <pc:sldMk cId="623287797" sldId="2147374609"/>
            <ac:spMk id="2" creationId="{2710EA13-AB73-44AA-BAD2-FF6B2B750DD2}"/>
          </ac:spMkLst>
        </pc:spChg>
        <pc:spChg chg="mod">
          <ac:chgData name="Jolly, Tanupreet" userId="S::tjolly@ptc.com::2b9284cd-fe3f-4ab0-9d74-7ba141bd15e9" providerId="AD" clId="Web-{48C2B8ED-75AD-C195-E799-2332DC739837}" dt="2022-12-22T09:45:03.789" v="9" actId="20577"/>
          <ac:spMkLst>
            <pc:docMk/>
            <pc:sldMk cId="623287797" sldId="2147374609"/>
            <ac:spMk id="3" creationId="{F0031CE7-8972-4DA8-8E68-01FC05134F3F}"/>
          </ac:spMkLst>
        </pc:spChg>
        <pc:picChg chg="add del mod">
          <ac:chgData name="Jolly, Tanupreet" userId="S::tjolly@ptc.com::2b9284cd-fe3f-4ab0-9d74-7ba141bd15e9" providerId="AD" clId="Web-{48C2B8ED-75AD-C195-E799-2332DC739837}" dt="2022-12-22T10:10:00.924" v="16"/>
          <ac:picMkLst>
            <pc:docMk/>
            <pc:sldMk cId="623287797" sldId="2147374609"/>
            <ac:picMk id="4" creationId="{F79EC530-20A4-21FA-3F2A-7413F78A3994}"/>
          </ac:picMkLst>
        </pc:picChg>
      </pc:sldChg>
    </pc:docChg>
  </pc:docChgLst>
  <pc:docChgLst>
    <pc:chgData name="Ollerton, Patrick" userId="S::pollerton@ptc.com::43d5caef-e4ad-45da-a291-7d0ea29ad7c7" providerId="AD" clId="Web-{1A843F5D-FCC4-5A61-E422-D73817D44682}"/>
    <pc:docChg chg="modSld">
      <pc:chgData name="Ollerton, Patrick" userId="S::pollerton@ptc.com::43d5caef-e4ad-45da-a291-7d0ea29ad7c7" providerId="AD" clId="Web-{1A843F5D-FCC4-5A61-E422-D73817D44682}" dt="2023-01-11T08:33:30.900" v="55" actId="20577"/>
      <pc:docMkLst>
        <pc:docMk/>
      </pc:docMkLst>
      <pc:sldChg chg="modSp">
        <pc:chgData name="Ollerton, Patrick" userId="S::pollerton@ptc.com::43d5caef-e4ad-45da-a291-7d0ea29ad7c7" providerId="AD" clId="Web-{1A843F5D-FCC4-5A61-E422-D73817D44682}" dt="2023-01-11T08:33:30.900" v="55" actId="20577"/>
        <pc:sldMkLst>
          <pc:docMk/>
          <pc:sldMk cId="4034989855" sldId="2147374618"/>
        </pc:sldMkLst>
        <pc:spChg chg="mod">
          <ac:chgData name="Ollerton, Patrick" userId="S::pollerton@ptc.com::43d5caef-e4ad-45da-a291-7d0ea29ad7c7" providerId="AD" clId="Web-{1A843F5D-FCC4-5A61-E422-D73817D44682}" dt="2023-01-11T08:33:30.900" v="55" actId="20577"/>
          <ac:spMkLst>
            <pc:docMk/>
            <pc:sldMk cId="4034989855" sldId="2147374618"/>
            <ac:spMk id="2" creationId="{E0651130-EBD8-4D6F-AEDB-93B60B06D97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8/01/2023</a:t>
            </a:fld>
            <a:endParaRPr lang="es-PE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/1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F37E36-7D7C-4671-B3B8-2BFBF9F6F7F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9872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7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5.png"/><Relationship Id="rId3" Type="http://schemas.openxmlformats.org/officeDocument/2006/relationships/hyperlink" Target="https://facebook.com/ptc.inc" TargetMode="External"/><Relationship Id="rId7" Type="http://schemas.openxmlformats.org/officeDocument/2006/relationships/hyperlink" Target="https://www.linkedin.com/company/ptc/" TargetMode="External"/><Relationship Id="rId12" Type="http://schemas.openxmlformats.org/officeDocument/2006/relationships/image" Target="../media/image24.svg"/><Relationship Id="rId2" Type="http://schemas.openxmlformats.org/officeDocument/2006/relationships/hyperlink" Target="https://www.ptc.com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11" Type="http://schemas.openxmlformats.org/officeDocument/2006/relationships/image" Target="../media/image23.png"/><Relationship Id="rId5" Type="http://schemas.openxmlformats.org/officeDocument/2006/relationships/hyperlink" Target="https://twitter.com/ptc" TargetMode="External"/><Relationship Id="rId10" Type="http://schemas.openxmlformats.org/officeDocument/2006/relationships/image" Target="../media/image22.png"/><Relationship Id="rId4" Type="http://schemas.openxmlformats.org/officeDocument/2006/relationships/image" Target="../media/image19.png"/><Relationship Id="rId9" Type="http://schemas.openxmlformats.org/officeDocument/2006/relationships/hyperlink" Target="https://youtube.com/ptc" TargetMode="Externa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jpe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309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310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2944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7342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27800727-BEFA-4199-BF3F-02A14E0B6D1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44D04B69-3461-456B-9C67-C24F2C048941}"/>
              </a:ext>
            </a:extLst>
          </p:cNvPr>
          <p:cNvGrpSpPr/>
          <p:nvPr userDrawn="1"/>
        </p:nvGrpSpPr>
        <p:grpSpPr>
          <a:xfrm>
            <a:off x="5098163" y="-455836"/>
            <a:ext cx="8421905" cy="7945936"/>
            <a:chOff x="5098163" y="-455836"/>
            <a:chExt cx="8421905" cy="7945936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C129301-6BBC-4CFE-9A5C-0F22F93AF184}"/>
                </a:ext>
              </a:extLst>
            </p:cNvPr>
            <p:cNvSpPr/>
            <p:nvPr userDrawn="1"/>
          </p:nvSpPr>
          <p:spPr>
            <a:xfrm rot="13821780">
              <a:off x="5239135" y="-596808"/>
              <a:ext cx="5190684" cy="5472628"/>
            </a:xfrm>
            <a:custGeom>
              <a:avLst/>
              <a:gdLst>
                <a:gd name="connsiteX0" fmla="*/ 5190684 w 5190684"/>
                <a:gd name="connsiteY0" fmla="*/ 2965814 h 5472628"/>
                <a:gd name="connsiteX1" fmla="*/ 3114139 w 5190684"/>
                <a:gd name="connsiteY1" fmla="*/ 5472628 h 5472628"/>
                <a:gd name="connsiteX2" fmla="*/ 0 w 5190684"/>
                <a:gd name="connsiteY2" fmla="*/ 0 h 5472628"/>
                <a:gd name="connsiteX3" fmla="*/ 3133747 w 5190684"/>
                <a:gd name="connsiteY3" fmla="*/ 0 h 5472628"/>
                <a:gd name="connsiteX4" fmla="*/ 3518511 w 5190684"/>
                <a:gd name="connsiteY4" fmla="*/ 169 h 5472628"/>
                <a:gd name="connsiteX5" fmla="*/ 5190684 w 5190684"/>
                <a:gd name="connsiteY5" fmla="*/ 2965814 h 5472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90684" h="5472628">
                  <a:moveTo>
                    <a:pt x="5190684" y="2965814"/>
                  </a:moveTo>
                  <a:lnTo>
                    <a:pt x="3114139" y="5472628"/>
                  </a:lnTo>
                  <a:lnTo>
                    <a:pt x="0" y="0"/>
                  </a:lnTo>
                  <a:lnTo>
                    <a:pt x="3133747" y="0"/>
                  </a:lnTo>
                  <a:lnTo>
                    <a:pt x="3518511" y="169"/>
                  </a:lnTo>
                  <a:lnTo>
                    <a:pt x="5190684" y="2965814"/>
                  </a:lnTo>
                  <a:close/>
                </a:path>
              </a:pathLst>
            </a:custGeom>
            <a:solidFill>
              <a:schemeClr val="tx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0246A04-13C7-4E8A-8E30-D7498D20B5FA}"/>
                </a:ext>
              </a:extLst>
            </p:cNvPr>
            <p:cNvSpPr/>
            <p:nvPr userDrawn="1"/>
          </p:nvSpPr>
          <p:spPr>
            <a:xfrm rot="13821780">
              <a:off x="8007792" y="1977824"/>
              <a:ext cx="5029645" cy="5994907"/>
            </a:xfrm>
            <a:custGeom>
              <a:avLst/>
              <a:gdLst>
                <a:gd name="connsiteX0" fmla="*/ 3516449 w 5029645"/>
                <a:gd name="connsiteY0" fmla="*/ 5994907 h 5994907"/>
                <a:gd name="connsiteX1" fmla="*/ 1394416 w 5029645"/>
                <a:gd name="connsiteY1" fmla="*/ 4237097 h 5994907"/>
                <a:gd name="connsiteX2" fmla="*/ 1677138 w 5029645"/>
                <a:gd name="connsiteY2" fmla="*/ 3756672 h 5994907"/>
                <a:gd name="connsiteX3" fmla="*/ 1317698 w 5029645"/>
                <a:gd name="connsiteY3" fmla="*/ 3124534 h 5994907"/>
                <a:gd name="connsiteX4" fmla="*/ 920847 w 5029645"/>
                <a:gd name="connsiteY4" fmla="*/ 3844814 h 5994907"/>
                <a:gd name="connsiteX5" fmla="*/ 280815 w 5029645"/>
                <a:gd name="connsiteY5" fmla="*/ 3314638 h 5994907"/>
                <a:gd name="connsiteX6" fmla="*/ 280817 w 5029645"/>
                <a:gd name="connsiteY6" fmla="*/ 3314636 h 5994907"/>
                <a:gd name="connsiteX7" fmla="*/ 0 w 5029645"/>
                <a:gd name="connsiteY7" fmla="*/ 3082019 h 5994907"/>
                <a:gd name="connsiteX8" fmla="*/ 2553021 w 5029645"/>
                <a:gd name="connsiteY8" fmla="*/ 0 h 5994907"/>
                <a:gd name="connsiteX9" fmla="*/ 3082168 w 5029645"/>
                <a:gd name="connsiteY9" fmla="*/ 0 h 5994907"/>
                <a:gd name="connsiteX10" fmla="*/ 3870352 w 5029645"/>
                <a:gd name="connsiteY10" fmla="*/ 1377053 h 5994907"/>
                <a:gd name="connsiteX11" fmla="*/ 5029645 w 5029645"/>
                <a:gd name="connsiteY11" fmla="*/ 3437574 h 5994907"/>
                <a:gd name="connsiteX12" fmla="*/ 3516449 w 5029645"/>
                <a:gd name="connsiteY12" fmla="*/ 5994907 h 599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29645" h="5994907">
                  <a:moveTo>
                    <a:pt x="3516449" y="5994907"/>
                  </a:moveTo>
                  <a:lnTo>
                    <a:pt x="1394416" y="4237097"/>
                  </a:lnTo>
                  <a:lnTo>
                    <a:pt x="1677138" y="3756672"/>
                  </a:lnTo>
                  <a:lnTo>
                    <a:pt x="1317698" y="3124534"/>
                  </a:lnTo>
                  <a:lnTo>
                    <a:pt x="920847" y="3844814"/>
                  </a:lnTo>
                  <a:lnTo>
                    <a:pt x="280815" y="3314638"/>
                  </a:lnTo>
                  <a:lnTo>
                    <a:pt x="280817" y="3314636"/>
                  </a:lnTo>
                  <a:lnTo>
                    <a:pt x="0" y="3082019"/>
                  </a:lnTo>
                  <a:lnTo>
                    <a:pt x="2553021" y="0"/>
                  </a:lnTo>
                  <a:lnTo>
                    <a:pt x="3082168" y="0"/>
                  </a:lnTo>
                  <a:lnTo>
                    <a:pt x="3870352" y="1377053"/>
                  </a:lnTo>
                  <a:lnTo>
                    <a:pt x="5029645" y="3437574"/>
                  </a:lnTo>
                  <a:lnTo>
                    <a:pt x="3516449" y="5994907"/>
                  </a:lnTo>
                  <a:close/>
                </a:path>
              </a:pathLst>
            </a:custGeom>
            <a:solidFill>
              <a:schemeClr val="bg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7B8AF6A-3398-417E-818C-E716D2C905C4}"/>
                </a:ext>
              </a:extLst>
            </p:cNvPr>
            <p:cNvSpPr/>
            <p:nvPr userDrawn="1"/>
          </p:nvSpPr>
          <p:spPr>
            <a:xfrm>
              <a:off x="9497710" y="0"/>
              <a:ext cx="2694290" cy="2106092"/>
            </a:xfrm>
            <a:custGeom>
              <a:avLst/>
              <a:gdLst>
                <a:gd name="connsiteX0" fmla="*/ 802401 w 2694290"/>
                <a:gd name="connsiteY0" fmla="*/ 0 h 2106092"/>
                <a:gd name="connsiteX1" fmla="*/ 2694290 w 2694290"/>
                <a:gd name="connsiteY1" fmla="*/ 0 h 2106092"/>
                <a:gd name="connsiteX2" fmla="*/ 2694290 w 2694290"/>
                <a:gd name="connsiteY2" fmla="*/ 1678210 h 2106092"/>
                <a:gd name="connsiteX3" fmla="*/ 0 w 2694290"/>
                <a:gd name="connsiteY3" fmla="*/ 2106092 h 2106092"/>
                <a:gd name="connsiteX4" fmla="*/ 802401 w 2694290"/>
                <a:gd name="connsiteY4" fmla="*/ 0 h 2106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4290" h="2106092">
                  <a:moveTo>
                    <a:pt x="802401" y="0"/>
                  </a:moveTo>
                  <a:lnTo>
                    <a:pt x="2694290" y="0"/>
                  </a:lnTo>
                  <a:lnTo>
                    <a:pt x="2694290" y="1678210"/>
                  </a:lnTo>
                  <a:lnTo>
                    <a:pt x="0" y="2106092"/>
                  </a:lnTo>
                  <a:lnTo>
                    <a:pt x="80240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2813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3186507"/>
            <a:ext cx="7095744" cy="1402435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3130080"/>
            <a:ext cx="3029331" cy="151528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96112" indent="-228600"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1430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Add call out text here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  <a:p>
            <a:pPr lvl="3"/>
            <a:r>
              <a:rPr lang="en-US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629DC23-4580-422E-9524-A6BDD0FBEEB4}"/>
              </a:ext>
            </a:extLst>
          </p:cNvPr>
          <p:cNvGrpSpPr/>
          <p:nvPr userDrawn="1"/>
        </p:nvGrpSpPr>
        <p:grpSpPr>
          <a:xfrm>
            <a:off x="3505373" y="2988934"/>
            <a:ext cx="478233" cy="3067294"/>
            <a:chOff x="3543714" y="2978301"/>
            <a:chExt cx="478233" cy="3067294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6558BD-2FE6-4824-9681-AC6B50FC2825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3175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290F29F5-4529-4B00-A185-F237BA88D7D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1" y="5043883"/>
              <a:ext cx="0" cy="1001712"/>
            </a:xfrm>
            <a:prstGeom prst="line">
              <a:avLst/>
            </a:prstGeom>
            <a:ln w="9525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860F12DB-F906-46E7-BB6C-A0C096CDEF4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714" y="6041913"/>
              <a:ext cx="478233" cy="0"/>
            </a:xfrm>
            <a:prstGeom prst="line">
              <a:avLst/>
            </a:prstGeom>
            <a:ln w="1905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02CDFFB-3296-45F1-837F-BC567AD0FD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53787"/>
          <a:stretch/>
        </p:blipFill>
        <p:spPr>
          <a:xfrm>
            <a:off x="11030375" y="2866175"/>
            <a:ext cx="1161626" cy="2313432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4"/>
                </a:buBlip>
              </a:pPr>
              <a:endParaRPr lang="en-US" sz="1800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71462" y="3134272"/>
            <a:ext cx="3026664" cy="151528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Add call out text here</a:t>
            </a:r>
          </a:p>
          <a:p>
            <a:pPr lvl="1"/>
            <a:r>
              <a:rPr lang="en-US"/>
              <a:t>Bullet 2</a:t>
            </a:r>
          </a:p>
          <a:p>
            <a:pPr marL="896112" lvl="2" indent="-228600"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n-US"/>
              <a:t>Bullet 3</a:t>
            </a:r>
          </a:p>
          <a:p>
            <a:pPr marL="1143000" lvl="3">
              <a:buBlip>
                <a:blip r:embed="rId7"/>
              </a:buBlip>
            </a:pPr>
            <a:r>
              <a:rPr lang="en-US"/>
              <a:t>Bullet 4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E4983F59-20D1-456F-9822-48C6226503C4}"/>
              </a:ext>
            </a:extLst>
          </p:cNvPr>
          <p:cNvGrpSpPr/>
          <p:nvPr userDrawn="1"/>
        </p:nvGrpSpPr>
        <p:grpSpPr>
          <a:xfrm>
            <a:off x="3505373" y="2988934"/>
            <a:ext cx="478233" cy="3067294"/>
            <a:chOff x="3543714" y="2978301"/>
            <a:chExt cx="478233" cy="3067294"/>
          </a:xfrm>
        </p:grpSpPr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F139F8BB-DB21-4143-AE80-E3F57EF11700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3175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C51FBC5C-EFA9-4EAE-884D-1053E7D82AB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1" y="5043883"/>
              <a:ext cx="0" cy="1001712"/>
            </a:xfrm>
            <a:prstGeom prst="line">
              <a:avLst/>
            </a:prstGeom>
            <a:ln w="9525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7B92371-B3C4-482B-8F9D-BABDE62719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714" y="6041913"/>
              <a:ext cx="478233" cy="0"/>
            </a:xfrm>
            <a:prstGeom prst="line">
              <a:avLst/>
            </a:prstGeom>
            <a:ln w="1905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accent5"/>
                </a:solidFill>
                <a:latin typeface="+mn-lt"/>
              </a:defRPr>
            </a:lvl1pPr>
          </a:lstStyle>
          <a:p>
            <a:r>
              <a:rPr lang="en-US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84082" y="5570491"/>
            <a:ext cx="11823616" cy="553998"/>
          </a:xfr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448D662-6523-4218-8C74-57E67EA487D2}"/>
              </a:ext>
            </a:extLst>
          </p:cNvPr>
          <p:cNvGrpSpPr/>
          <p:nvPr userDrawn="1"/>
        </p:nvGrpSpPr>
        <p:grpSpPr>
          <a:xfrm rot="5400000" flipH="1">
            <a:off x="963637" y="4418514"/>
            <a:ext cx="291600" cy="1828800"/>
            <a:chOff x="3543714" y="2978301"/>
            <a:chExt cx="478233" cy="3067294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68EE3B7-86A3-46E4-8C18-4177BE6F23D3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6350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400A465-8170-4E06-8AC4-0B4E97C1BA4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1" y="5043883"/>
              <a:ext cx="0" cy="1001712"/>
            </a:xfrm>
            <a:prstGeom prst="line">
              <a:avLst/>
            </a:prstGeom>
            <a:ln w="1270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0F3370D-BB7A-49E6-B98E-026D631B99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714" y="6041913"/>
              <a:ext cx="478233" cy="0"/>
            </a:xfrm>
            <a:prstGeom prst="line">
              <a:avLst/>
            </a:prstGeom>
            <a:ln w="1905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88816B2-845A-4989-A2B1-4079A2F3752B}"/>
              </a:ext>
            </a:extLst>
          </p:cNvPr>
          <p:cNvGrpSpPr/>
          <p:nvPr userDrawn="1"/>
        </p:nvGrpSpPr>
        <p:grpSpPr>
          <a:xfrm rot="16200000" flipH="1">
            <a:off x="10949912" y="5290616"/>
            <a:ext cx="291600" cy="1828800"/>
            <a:chOff x="3543714" y="2978301"/>
            <a:chExt cx="478233" cy="3067294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D19B288-2A4F-437F-A0F7-2768B6B747B2}"/>
                </a:ext>
              </a:extLst>
            </p:cNvPr>
            <p:cNvCxnSpPr/>
            <p:nvPr userDrawn="1"/>
          </p:nvCxnSpPr>
          <p:spPr>
            <a:xfrm>
              <a:off x="4018231" y="2978301"/>
              <a:ext cx="0" cy="3063244"/>
            </a:xfrm>
            <a:prstGeom prst="line">
              <a:avLst/>
            </a:prstGeom>
            <a:ln w="6350">
              <a:solidFill>
                <a:srgbClr val="80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184DB4A-6A25-4E9B-91DA-0532F23B76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18231" y="5043883"/>
              <a:ext cx="0" cy="1001712"/>
            </a:xfrm>
            <a:prstGeom prst="line">
              <a:avLst/>
            </a:prstGeom>
            <a:ln w="1270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7A0D9433-EAE5-4A07-9C93-1D153DF9FC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543714" y="6041913"/>
              <a:ext cx="478233" cy="0"/>
            </a:xfrm>
            <a:prstGeom prst="line">
              <a:avLst/>
            </a:prstGeom>
            <a:ln w="19050">
              <a:solidFill>
                <a:srgbClr val="FFFFF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8D69FC5-5274-4468-BEC3-8A28A037ED71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D686C80-5946-4393-9847-B1BC3BD38A43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26" name="Freeform 4">
              <a:extLst>
                <a:ext uri="{FF2B5EF4-FFF2-40B4-BE49-F238E27FC236}">
                  <a16:creationId xmlns:a16="http://schemas.microsoft.com/office/drawing/2014/main" id="{FAF5E269-FC2A-4D03-B235-792797AF466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5417A66-28C9-4F74-8725-ED614CCC78B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448424" y="2267712"/>
            <a:ext cx="5120640" cy="347472"/>
          </a:xfrm>
        </p:spPr>
        <p:txBody>
          <a:bodyPr/>
          <a:lstStyle>
            <a:lvl1pPr marL="0" indent="0" algn="ctr">
              <a:buNone/>
              <a:defRPr b="1"/>
            </a:lvl1pPr>
          </a:lstStyle>
          <a:p>
            <a:pPr lvl="0"/>
            <a:r>
              <a:rPr lang="en-US"/>
              <a:t>Add Title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71067A-153F-402A-9705-FE668216495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68362" y="2267712"/>
            <a:ext cx="5120640" cy="347472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9928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9928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5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9928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C979FE08-D77A-455C-BA4C-B955D2EEA557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accent5"/>
                </a:solidFill>
                <a:latin typeface="+mn-lt"/>
              </a:defRPr>
            </a:lvl1pPr>
          </a:lstStyle>
          <a:p>
            <a:r>
              <a:rPr lang="en-US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61100" y="3163874"/>
            <a:ext cx="5486400" cy="1402435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9642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MS PGothic" pitchFamily="34" charset="-128"/>
            </a:endParaRP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622BF81C-8C92-4874-B754-F35BAEE44E6B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41617"/>
            <a:chExt cx="932562" cy="679259"/>
          </a:xfrm>
        </p:grpSpPr>
        <p:grpSp>
          <p:nvGrpSpPr>
            <p:cNvPr id="105" name="Graphic 42">
              <a:extLst>
                <a:ext uri="{FF2B5EF4-FFF2-40B4-BE49-F238E27FC236}">
                  <a16:creationId xmlns:a16="http://schemas.microsoft.com/office/drawing/2014/main" id="{E568D6B0-7235-4F63-8FD4-1304A273F703}"/>
                </a:ext>
              </a:extLst>
            </p:cNvPr>
            <p:cNvGrpSpPr/>
            <p:nvPr userDrawn="1"/>
          </p:nvGrpSpPr>
          <p:grpSpPr>
            <a:xfrm flipV="1">
              <a:off x="11042268" y="241617"/>
              <a:ext cx="907034" cy="112903"/>
              <a:chOff x="10978768" y="6357873"/>
              <a:chExt cx="907034" cy="112903"/>
            </a:xfrm>
            <a:solidFill>
              <a:schemeClr val="tx2"/>
            </a:solidFill>
          </p:grpSpPr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10A4EDEE-60A8-4CA1-8C6C-B1A59B9AAA94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C3B7B098-659E-488E-90A9-088C6F099033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6AE71A07-AE0B-4178-A5F6-AB7BB11A3CB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34276330-EC2F-4A30-B282-5DCD54D3178B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77BEE7F7-3CDF-4CF8-9E3D-615432308969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B5C0A146-E625-4735-9771-349C2400D3EA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D0420B36-AAB5-4FF1-82E1-06B41A5B4ABD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04E9DCBD-CCB5-4A5C-86AE-6BCDB1E40A8D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A416D017-D6E0-4DC1-823E-5845DE753001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3BE4E828-4630-454A-9FD2-816AD593BB24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2B020603-974F-49ED-9816-FF25449521DE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4367F2B9-5CD4-43F8-B8A1-60064B54B7CC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A8E38A1B-0C0C-4FBB-AE3C-20444C27C9F1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98C9F42D-534C-4892-B8B6-E10A259E2DBC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1B762651-B664-45E3-9EBF-33B697DB98F1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1A205D60-7A0B-40BD-A939-EE122ED20B37}"/>
                </a:ext>
              </a:extLst>
            </p:cNvPr>
            <p:cNvSpPr/>
            <p:nvPr userDrawn="1"/>
          </p:nvSpPr>
          <p:spPr>
            <a:xfrm rot="5400000" flipV="1">
              <a:off x="11916016" y="3989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chemeClr val="tx2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37" name="Graphic 42">
              <a:extLst>
                <a:ext uri="{FF2B5EF4-FFF2-40B4-BE49-F238E27FC236}">
                  <a16:creationId xmlns:a16="http://schemas.microsoft.com/office/drawing/2014/main" id="{8AA96B41-8C6C-4551-9D36-29216EB4819D}"/>
                </a:ext>
              </a:extLst>
            </p:cNvPr>
            <p:cNvGrpSpPr/>
            <p:nvPr userDrawn="1"/>
          </p:nvGrpSpPr>
          <p:grpSpPr>
            <a:xfrm flipV="1">
              <a:off x="11901678" y="510222"/>
              <a:ext cx="73152" cy="410654"/>
              <a:chOff x="11838178" y="5791517"/>
              <a:chExt cx="73152" cy="410654"/>
            </a:xfrm>
            <a:solidFill>
              <a:schemeClr val="tx2"/>
            </a:solidFill>
          </p:grpSpPr>
          <p:grpSp>
            <p:nvGrpSpPr>
              <p:cNvPr id="138" name="Graphic 42">
                <a:extLst>
                  <a:ext uri="{FF2B5EF4-FFF2-40B4-BE49-F238E27FC236}">
                    <a16:creationId xmlns:a16="http://schemas.microsoft.com/office/drawing/2014/main" id="{0CD3D9AF-D94D-43C9-AA91-229D4031AEE1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40" name="Freeform: Shape 139">
                  <a:extLst>
                    <a:ext uri="{FF2B5EF4-FFF2-40B4-BE49-F238E27FC236}">
                      <a16:creationId xmlns:a16="http://schemas.microsoft.com/office/drawing/2014/main" id="{0E029371-C330-47F9-A0F3-ABC959DE9DF7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681125CA-51AE-475B-9D66-832CDCC59D38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2" name="Freeform: Shape 141">
                  <a:extLst>
                    <a:ext uri="{FF2B5EF4-FFF2-40B4-BE49-F238E27FC236}">
                      <a16:creationId xmlns:a16="http://schemas.microsoft.com/office/drawing/2014/main" id="{30E3BD46-19A2-4F96-B247-2728A73E0C3C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3" name="Freeform: Shape 142">
                  <a:extLst>
                    <a:ext uri="{FF2B5EF4-FFF2-40B4-BE49-F238E27FC236}">
                      <a16:creationId xmlns:a16="http://schemas.microsoft.com/office/drawing/2014/main" id="{3EF36F85-4F4B-48E3-AA97-2002101AE421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4" name="Freeform: Shape 143">
                  <a:extLst>
                    <a:ext uri="{FF2B5EF4-FFF2-40B4-BE49-F238E27FC236}">
                      <a16:creationId xmlns:a16="http://schemas.microsoft.com/office/drawing/2014/main" id="{3E05F5B7-FFB4-4203-B5E3-9FD5501A47D3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EB20F609-F79C-40C7-9E29-8B0DE2FD76CC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5361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5044" y="4782219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8997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89659" y="4782219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71291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870974" y="4782219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604973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79958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980903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709928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0204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9986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0219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198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82692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2474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71648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71430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160544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26253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431988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343032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709928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09928"/>
            <a:ext cx="10789920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 marL="932688"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8507" y="2864755"/>
            <a:ext cx="1600200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8507" y="4784343"/>
            <a:ext cx="1600200" cy="553998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95408" y="2864755"/>
            <a:ext cx="1600200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95408" y="4784343"/>
            <a:ext cx="1600200" cy="553998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92309" y="2864755"/>
            <a:ext cx="1600200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292309" y="4784343"/>
            <a:ext cx="1600200" cy="553998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689210" y="2864755"/>
            <a:ext cx="1600200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689210" y="4784343"/>
            <a:ext cx="1600200" cy="553998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99089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387800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181602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784701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709928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/>
              <a:t>Call out blurb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A443D19A-1751-43D6-A160-5296A53060F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0578504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7D8C84A-E732-4EA8-8388-80FC2F2F60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86112" y="2864755"/>
            <a:ext cx="1600200" cy="221599"/>
          </a:xfrm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73FB3A0-2394-412A-B5B0-D0E4A63CD9B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86112" y="4784343"/>
            <a:ext cx="1600200" cy="557784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en-US"/>
              <a:t>Add a short paragraph – not too long – or a bulleted list</a:t>
            </a:r>
          </a:p>
        </p:txBody>
      </p:sp>
    </p:spTree>
    <p:extLst>
      <p:ext uri="{BB962C8B-B14F-4D97-AF65-F5344CB8AC3E}">
        <p14:creationId xmlns:p14="http://schemas.microsoft.com/office/powerpoint/2010/main" val="225164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/>
                <a:t>thank</a:t>
              </a:r>
            </a:p>
          </p:txBody>
        </p:sp>
      </p:grpSp>
      <p:pic>
        <p:nvPicPr>
          <p:cNvPr id="38" name="Picture 37">
            <a:hlinkClick r:id="rId3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5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7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9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115C6C5-F9D6-448E-B1B2-C8028536A3FE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8189171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309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310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2944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7342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EFC5878C-9611-44EE-9BF6-9A5E670F3220}"/>
              </a:ext>
            </a:extLst>
          </p:cNvPr>
          <p:cNvGrpSpPr/>
          <p:nvPr userDrawn="1"/>
        </p:nvGrpSpPr>
        <p:grpSpPr>
          <a:xfrm>
            <a:off x="5098163" y="-455836"/>
            <a:ext cx="8421905" cy="7945936"/>
            <a:chOff x="5098163" y="-455836"/>
            <a:chExt cx="8421905" cy="7945936"/>
          </a:xfrm>
          <a:blipFill>
            <a:blip r:embed="rId6"/>
            <a:stretch>
              <a:fillRect/>
            </a:stretch>
          </a:blip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585A574-F6C9-486A-BF8E-B26489EBC327}"/>
                </a:ext>
              </a:extLst>
            </p:cNvPr>
            <p:cNvSpPr/>
            <p:nvPr userDrawn="1"/>
          </p:nvSpPr>
          <p:spPr>
            <a:xfrm rot="13821780">
              <a:off x="5239135" y="-596808"/>
              <a:ext cx="5190684" cy="5472628"/>
            </a:xfrm>
            <a:custGeom>
              <a:avLst/>
              <a:gdLst>
                <a:gd name="connsiteX0" fmla="*/ 5190684 w 5190684"/>
                <a:gd name="connsiteY0" fmla="*/ 2965814 h 5472628"/>
                <a:gd name="connsiteX1" fmla="*/ 3114139 w 5190684"/>
                <a:gd name="connsiteY1" fmla="*/ 5472628 h 5472628"/>
                <a:gd name="connsiteX2" fmla="*/ 0 w 5190684"/>
                <a:gd name="connsiteY2" fmla="*/ 0 h 5472628"/>
                <a:gd name="connsiteX3" fmla="*/ 3133747 w 5190684"/>
                <a:gd name="connsiteY3" fmla="*/ 0 h 5472628"/>
                <a:gd name="connsiteX4" fmla="*/ 3518511 w 5190684"/>
                <a:gd name="connsiteY4" fmla="*/ 169 h 5472628"/>
                <a:gd name="connsiteX5" fmla="*/ 5190684 w 5190684"/>
                <a:gd name="connsiteY5" fmla="*/ 2965814 h 5472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90684" h="5472628">
                  <a:moveTo>
                    <a:pt x="5190684" y="2965814"/>
                  </a:moveTo>
                  <a:lnTo>
                    <a:pt x="3114139" y="5472628"/>
                  </a:lnTo>
                  <a:lnTo>
                    <a:pt x="0" y="0"/>
                  </a:lnTo>
                  <a:lnTo>
                    <a:pt x="3133747" y="0"/>
                  </a:lnTo>
                  <a:lnTo>
                    <a:pt x="3518511" y="169"/>
                  </a:lnTo>
                  <a:lnTo>
                    <a:pt x="5190684" y="2965814"/>
                  </a:lnTo>
                  <a:close/>
                </a:path>
              </a:pathLst>
            </a:cu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3B0B130-7D67-4CAE-B150-D073A38C66C7}"/>
                </a:ext>
              </a:extLst>
            </p:cNvPr>
            <p:cNvSpPr/>
            <p:nvPr userDrawn="1"/>
          </p:nvSpPr>
          <p:spPr>
            <a:xfrm rot="13821780">
              <a:off x="8007792" y="1977824"/>
              <a:ext cx="5029645" cy="5994907"/>
            </a:xfrm>
            <a:custGeom>
              <a:avLst/>
              <a:gdLst>
                <a:gd name="connsiteX0" fmla="*/ 3516449 w 5029645"/>
                <a:gd name="connsiteY0" fmla="*/ 5994907 h 5994907"/>
                <a:gd name="connsiteX1" fmla="*/ 1394416 w 5029645"/>
                <a:gd name="connsiteY1" fmla="*/ 4237097 h 5994907"/>
                <a:gd name="connsiteX2" fmla="*/ 1677138 w 5029645"/>
                <a:gd name="connsiteY2" fmla="*/ 3756672 h 5994907"/>
                <a:gd name="connsiteX3" fmla="*/ 1317698 w 5029645"/>
                <a:gd name="connsiteY3" fmla="*/ 3124534 h 5994907"/>
                <a:gd name="connsiteX4" fmla="*/ 920847 w 5029645"/>
                <a:gd name="connsiteY4" fmla="*/ 3844814 h 5994907"/>
                <a:gd name="connsiteX5" fmla="*/ 280815 w 5029645"/>
                <a:gd name="connsiteY5" fmla="*/ 3314638 h 5994907"/>
                <a:gd name="connsiteX6" fmla="*/ 280817 w 5029645"/>
                <a:gd name="connsiteY6" fmla="*/ 3314636 h 5994907"/>
                <a:gd name="connsiteX7" fmla="*/ 0 w 5029645"/>
                <a:gd name="connsiteY7" fmla="*/ 3082019 h 5994907"/>
                <a:gd name="connsiteX8" fmla="*/ 2553021 w 5029645"/>
                <a:gd name="connsiteY8" fmla="*/ 0 h 5994907"/>
                <a:gd name="connsiteX9" fmla="*/ 3082168 w 5029645"/>
                <a:gd name="connsiteY9" fmla="*/ 0 h 5994907"/>
                <a:gd name="connsiteX10" fmla="*/ 3870352 w 5029645"/>
                <a:gd name="connsiteY10" fmla="*/ 1377053 h 5994907"/>
                <a:gd name="connsiteX11" fmla="*/ 5029645 w 5029645"/>
                <a:gd name="connsiteY11" fmla="*/ 3437574 h 5994907"/>
                <a:gd name="connsiteX12" fmla="*/ 3516449 w 5029645"/>
                <a:gd name="connsiteY12" fmla="*/ 5994907 h 599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29645" h="5994907">
                  <a:moveTo>
                    <a:pt x="3516449" y="5994907"/>
                  </a:moveTo>
                  <a:lnTo>
                    <a:pt x="1394416" y="4237097"/>
                  </a:lnTo>
                  <a:lnTo>
                    <a:pt x="1677138" y="3756672"/>
                  </a:lnTo>
                  <a:lnTo>
                    <a:pt x="1317698" y="3124534"/>
                  </a:lnTo>
                  <a:lnTo>
                    <a:pt x="920847" y="3844814"/>
                  </a:lnTo>
                  <a:lnTo>
                    <a:pt x="280815" y="3314638"/>
                  </a:lnTo>
                  <a:lnTo>
                    <a:pt x="280817" y="3314636"/>
                  </a:lnTo>
                  <a:lnTo>
                    <a:pt x="0" y="3082019"/>
                  </a:lnTo>
                  <a:lnTo>
                    <a:pt x="2553021" y="0"/>
                  </a:lnTo>
                  <a:lnTo>
                    <a:pt x="3082168" y="0"/>
                  </a:lnTo>
                  <a:lnTo>
                    <a:pt x="3870352" y="1377053"/>
                  </a:lnTo>
                  <a:lnTo>
                    <a:pt x="5029645" y="3437574"/>
                  </a:lnTo>
                  <a:lnTo>
                    <a:pt x="3516449" y="5994907"/>
                  </a:lnTo>
                  <a:close/>
                </a:path>
              </a:pathLst>
            </a:cu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A1D2E00-7E98-4FA8-A326-76AF19535B65}"/>
                </a:ext>
              </a:extLst>
            </p:cNvPr>
            <p:cNvSpPr/>
            <p:nvPr userDrawn="1"/>
          </p:nvSpPr>
          <p:spPr>
            <a:xfrm>
              <a:off x="9497710" y="0"/>
              <a:ext cx="2694290" cy="2106092"/>
            </a:xfrm>
            <a:custGeom>
              <a:avLst/>
              <a:gdLst>
                <a:gd name="connsiteX0" fmla="*/ 802401 w 2694290"/>
                <a:gd name="connsiteY0" fmla="*/ 0 h 2106092"/>
                <a:gd name="connsiteX1" fmla="*/ 2694290 w 2694290"/>
                <a:gd name="connsiteY1" fmla="*/ 0 h 2106092"/>
                <a:gd name="connsiteX2" fmla="*/ 2694290 w 2694290"/>
                <a:gd name="connsiteY2" fmla="*/ 1678210 h 2106092"/>
                <a:gd name="connsiteX3" fmla="*/ 0 w 2694290"/>
                <a:gd name="connsiteY3" fmla="*/ 2106092 h 2106092"/>
                <a:gd name="connsiteX4" fmla="*/ 802401 w 2694290"/>
                <a:gd name="connsiteY4" fmla="*/ 0 h 2106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4290" h="2106092">
                  <a:moveTo>
                    <a:pt x="802401" y="0"/>
                  </a:moveTo>
                  <a:lnTo>
                    <a:pt x="2694290" y="0"/>
                  </a:lnTo>
                  <a:lnTo>
                    <a:pt x="2694290" y="1678210"/>
                  </a:lnTo>
                  <a:lnTo>
                    <a:pt x="0" y="2106092"/>
                  </a:lnTo>
                  <a:lnTo>
                    <a:pt x="802401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609CD9C-78F1-4D79-B36E-32B655429E76}"/>
              </a:ext>
            </a:extLst>
          </p:cNvPr>
          <p:cNvSpPr/>
          <p:nvPr userDrawn="1"/>
        </p:nvSpPr>
        <p:spPr>
          <a:xfrm rot="13821780">
            <a:off x="8007167" y="1970199"/>
            <a:ext cx="5029645" cy="6007608"/>
          </a:xfrm>
          <a:custGeom>
            <a:avLst/>
            <a:gdLst>
              <a:gd name="connsiteX0" fmla="*/ 3516449 w 5029645"/>
              <a:gd name="connsiteY0" fmla="*/ 5994907 h 5994907"/>
              <a:gd name="connsiteX1" fmla="*/ 1394416 w 5029645"/>
              <a:gd name="connsiteY1" fmla="*/ 4237097 h 5994907"/>
              <a:gd name="connsiteX2" fmla="*/ 1677138 w 5029645"/>
              <a:gd name="connsiteY2" fmla="*/ 3756672 h 5994907"/>
              <a:gd name="connsiteX3" fmla="*/ 1317698 w 5029645"/>
              <a:gd name="connsiteY3" fmla="*/ 3124534 h 5994907"/>
              <a:gd name="connsiteX4" fmla="*/ 920847 w 5029645"/>
              <a:gd name="connsiteY4" fmla="*/ 3844814 h 5994907"/>
              <a:gd name="connsiteX5" fmla="*/ 280815 w 5029645"/>
              <a:gd name="connsiteY5" fmla="*/ 3314638 h 5994907"/>
              <a:gd name="connsiteX6" fmla="*/ 280817 w 5029645"/>
              <a:gd name="connsiteY6" fmla="*/ 3314636 h 5994907"/>
              <a:gd name="connsiteX7" fmla="*/ 0 w 5029645"/>
              <a:gd name="connsiteY7" fmla="*/ 3082019 h 5994907"/>
              <a:gd name="connsiteX8" fmla="*/ 2553021 w 5029645"/>
              <a:gd name="connsiteY8" fmla="*/ 0 h 5994907"/>
              <a:gd name="connsiteX9" fmla="*/ 3082168 w 5029645"/>
              <a:gd name="connsiteY9" fmla="*/ 0 h 5994907"/>
              <a:gd name="connsiteX10" fmla="*/ 3870352 w 5029645"/>
              <a:gd name="connsiteY10" fmla="*/ 1377053 h 5994907"/>
              <a:gd name="connsiteX11" fmla="*/ 5029645 w 5029645"/>
              <a:gd name="connsiteY11" fmla="*/ 3437574 h 5994907"/>
              <a:gd name="connsiteX12" fmla="*/ 3516449 w 5029645"/>
              <a:gd name="connsiteY12" fmla="*/ 5994907 h 5994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029645" h="5994907">
                <a:moveTo>
                  <a:pt x="3516449" y="5994907"/>
                </a:moveTo>
                <a:lnTo>
                  <a:pt x="1394416" y="4237097"/>
                </a:lnTo>
                <a:lnTo>
                  <a:pt x="1677138" y="3756672"/>
                </a:lnTo>
                <a:lnTo>
                  <a:pt x="1317698" y="3124534"/>
                </a:lnTo>
                <a:lnTo>
                  <a:pt x="920847" y="3844814"/>
                </a:lnTo>
                <a:lnTo>
                  <a:pt x="280815" y="3314638"/>
                </a:lnTo>
                <a:lnTo>
                  <a:pt x="280817" y="3314636"/>
                </a:lnTo>
                <a:lnTo>
                  <a:pt x="0" y="3082019"/>
                </a:lnTo>
                <a:lnTo>
                  <a:pt x="2553021" y="0"/>
                </a:lnTo>
                <a:lnTo>
                  <a:pt x="3082168" y="0"/>
                </a:lnTo>
                <a:lnTo>
                  <a:pt x="3870352" y="1377053"/>
                </a:lnTo>
                <a:lnTo>
                  <a:pt x="5029645" y="3437574"/>
                </a:lnTo>
                <a:lnTo>
                  <a:pt x="3516449" y="5994907"/>
                </a:lnTo>
                <a:close/>
              </a:path>
            </a:pathLst>
          </a:custGeom>
          <a:solidFill>
            <a:srgbClr val="6CC04A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3207401"/>
            <a:ext cx="3182076" cy="4431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add 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E0358D3-AC90-494A-B98F-19BDE159DB8E}"/>
              </a:ext>
            </a:extLst>
          </p:cNvPr>
          <p:cNvCxnSpPr>
            <a:cxnSpLocks/>
          </p:cNvCxnSpPr>
          <p:nvPr userDrawn="1"/>
        </p:nvCxnSpPr>
        <p:spPr>
          <a:xfrm>
            <a:off x="4080163" y="1051560"/>
            <a:ext cx="0" cy="475488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83C623BC-A0F7-46D7-87A2-096962F1FEC4}"/>
              </a:ext>
            </a:extLst>
          </p:cNvPr>
          <p:cNvSpPr/>
          <p:nvPr userDrawn="1"/>
        </p:nvSpPr>
        <p:spPr>
          <a:xfrm flipH="1" flipV="1">
            <a:off x="510776" y="2887137"/>
            <a:ext cx="96012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3261691-7E98-456C-8945-F79E150DD66B}"/>
              </a:ext>
            </a:extLst>
          </p:cNvPr>
          <p:cNvSpPr/>
          <p:nvPr userDrawn="1"/>
        </p:nvSpPr>
        <p:spPr>
          <a:xfrm>
            <a:off x="490760" y="259080"/>
            <a:ext cx="1109440" cy="426721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10431AD-6A0B-4A59-8F14-809C8AA5B3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59679" y="2533884"/>
            <a:ext cx="6641783" cy="1790234"/>
          </a:xfrm>
        </p:spPr>
        <p:txBody>
          <a:bodyPr vert="horz" wrap="square" lIns="0" tIns="0" rIns="0" bIns="0" rtlCol="0" anchor="ctr" anchorCtr="0">
            <a:spAutoFit/>
          </a:bodyPr>
          <a:lstStyle>
            <a:lvl1pPr marL="457200" indent="-457200">
              <a:defRPr lang="en-US" sz="3600" dirty="0" smtClean="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4889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02795696-EB95-4185-8B89-3CC0AED5CF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4" t="11245" b="4417"/>
          <a:stretch/>
        </p:blipFill>
        <p:spPr>
          <a:xfrm>
            <a:off x="-24384" y="0"/>
            <a:ext cx="12233159" cy="6857999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2752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0444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Background pattern&#10;&#10;Description automatically generated">
            <a:extLst>
              <a:ext uri="{FF2B5EF4-FFF2-40B4-BE49-F238E27FC236}">
                <a16:creationId xmlns:a16="http://schemas.microsoft.com/office/drawing/2014/main" id="{58F95B26-E9C8-461F-A9CE-9322F34A89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4" t="11245" b="4417"/>
          <a:stretch/>
        </p:blipFill>
        <p:spPr>
          <a:xfrm>
            <a:off x="-24384" y="0"/>
            <a:ext cx="12233159" cy="6857999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E8DB86CA-D14E-4B53-BA61-EA587191FB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4" t="11245" b="4417"/>
          <a:stretch/>
        </p:blipFill>
        <p:spPr>
          <a:xfrm>
            <a:off x="-24384" y="0"/>
            <a:ext cx="12233159" cy="6857999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57200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38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37" Type="http://schemas.openxmlformats.org/officeDocument/2006/relationships/image" Target="../media/image7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36" Type="http://schemas.openxmlformats.org/officeDocument/2006/relationships/image" Target="../media/image6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oleObject" Target="../embeddings/oleObject1.bin"/><Relationship Id="rId35" Type="http://schemas.openxmlformats.org/officeDocument/2006/relationships/image" Target="../media/image5.sv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30" imgW="383" imgH="384" progId="TCLayout.ActiveDocument.1">
                  <p:embed/>
                </p:oleObj>
              </mc:Choice>
              <mc:Fallback>
                <p:oleObj name="think-cell Slide" r:id="rId30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709928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7B3A833-BD4F-4383-8FE9-50958757C159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41617"/>
            <a:chExt cx="932562" cy="679259"/>
          </a:xfrm>
        </p:grpSpPr>
        <p:grpSp>
          <p:nvGrpSpPr>
            <p:cNvPr id="123" name="Graphic 42">
              <a:extLst>
                <a:ext uri="{FF2B5EF4-FFF2-40B4-BE49-F238E27FC236}">
                  <a16:creationId xmlns:a16="http://schemas.microsoft.com/office/drawing/2014/main" id="{C9CE943F-D82F-4669-9376-BFAC04830ABD}"/>
                </a:ext>
              </a:extLst>
            </p:cNvPr>
            <p:cNvGrpSpPr/>
            <p:nvPr userDrawn="1"/>
          </p:nvGrpSpPr>
          <p:grpSpPr>
            <a:xfrm flipV="1">
              <a:off x="11042268" y="241617"/>
              <a:ext cx="907034" cy="112903"/>
              <a:chOff x="10978768" y="6357873"/>
              <a:chExt cx="907034" cy="112903"/>
            </a:xfrm>
            <a:solidFill>
              <a:schemeClr val="tx2"/>
            </a:solidFill>
          </p:grpSpPr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453F8F07-CF6E-45C8-AC20-6B8B79C580CF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CED4C5C8-A7FC-4FB8-8D39-41B48E71D318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3875CC80-2EE3-44A2-AB9F-821C5BE5D095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CA54CFE8-6216-4380-A4C8-B1D07F3A1D94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2DEB6F89-07F4-4D3B-AB30-B973E58262D7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87673452-EAA0-4D54-9838-821974179A52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90AC6EB6-1C9C-4556-8400-349BEA629D3A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799D2756-4A52-4726-8D71-E99F167C5929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AA3E8461-8537-49BD-B1CD-2CA140B8BF1F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8B9D7C9B-8424-4A76-9E58-BA4DF16F73C4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A38571FC-9C89-46B5-8ACE-9F8A6C07C555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AE89493A-0CA0-47AE-84F9-23996CC80A99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C865DC70-EE04-478F-B674-FEF9458E11FF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D997C624-2682-4B08-9D15-7BFC41ADE59B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A5DD6C8D-6AAB-498F-85B3-83F734278836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B86A8B70-71D7-4C00-B48D-B0410F86AB4B}"/>
                </a:ext>
              </a:extLst>
            </p:cNvPr>
            <p:cNvSpPr/>
            <p:nvPr userDrawn="1"/>
          </p:nvSpPr>
          <p:spPr>
            <a:xfrm rot="5400000" flipV="1">
              <a:off x="11916016" y="3989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chemeClr val="tx2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25" name="Graphic 42">
              <a:extLst>
                <a:ext uri="{FF2B5EF4-FFF2-40B4-BE49-F238E27FC236}">
                  <a16:creationId xmlns:a16="http://schemas.microsoft.com/office/drawing/2014/main" id="{79F87CE9-05CD-4B99-9848-6C33FEA9AF91}"/>
                </a:ext>
              </a:extLst>
            </p:cNvPr>
            <p:cNvGrpSpPr/>
            <p:nvPr userDrawn="1"/>
          </p:nvGrpSpPr>
          <p:grpSpPr>
            <a:xfrm flipV="1">
              <a:off x="11901678" y="510222"/>
              <a:ext cx="73152" cy="410654"/>
              <a:chOff x="11838178" y="5791517"/>
              <a:chExt cx="73152" cy="410654"/>
            </a:xfrm>
            <a:solidFill>
              <a:schemeClr val="tx2"/>
            </a:solidFill>
          </p:grpSpPr>
          <p:grpSp>
            <p:nvGrpSpPr>
              <p:cNvPr id="126" name="Graphic 42">
                <a:extLst>
                  <a:ext uri="{FF2B5EF4-FFF2-40B4-BE49-F238E27FC236}">
                    <a16:creationId xmlns:a16="http://schemas.microsoft.com/office/drawing/2014/main" id="{FA297456-6C40-4A91-986C-614EE79FB8E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28" name="Freeform: Shape 127">
                  <a:extLst>
                    <a:ext uri="{FF2B5EF4-FFF2-40B4-BE49-F238E27FC236}">
                      <a16:creationId xmlns:a16="http://schemas.microsoft.com/office/drawing/2014/main" id="{55ACF6A1-756F-4E15-AC83-CBAC518A9533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9" name="Freeform: Shape 128">
                  <a:extLst>
                    <a:ext uri="{FF2B5EF4-FFF2-40B4-BE49-F238E27FC236}">
                      <a16:creationId xmlns:a16="http://schemas.microsoft.com/office/drawing/2014/main" id="{EA354376-FA52-4C1E-B7E9-F6417BA2E92E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0" name="Freeform: Shape 129">
                  <a:extLst>
                    <a:ext uri="{FF2B5EF4-FFF2-40B4-BE49-F238E27FC236}">
                      <a16:creationId xmlns:a16="http://schemas.microsoft.com/office/drawing/2014/main" id="{7FADCCA1-0EFD-4333-AC19-FADC0B2CC096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1" name="Freeform: Shape 130">
                  <a:extLst>
                    <a:ext uri="{FF2B5EF4-FFF2-40B4-BE49-F238E27FC236}">
                      <a16:creationId xmlns:a16="http://schemas.microsoft.com/office/drawing/2014/main" id="{345B0990-518A-4D66-9558-A4A21E17FDDF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2" name="Freeform: Shape 131">
                  <a:extLst>
                    <a:ext uri="{FF2B5EF4-FFF2-40B4-BE49-F238E27FC236}">
                      <a16:creationId xmlns:a16="http://schemas.microsoft.com/office/drawing/2014/main" id="{82DC273E-06B6-4901-823A-42356C2C95FF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432D69D3-B1D9-4752-B422-0712A33B4E1E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9642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MS PGothic" pitchFamily="34" charset="-128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A370F2A-B6C2-46DD-AB45-7568E7C8545F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881BC1C-CD55-4318-871B-A8A1D76C4E17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>
                <a:solidFill>
                  <a:schemeClr val="bg1"/>
                </a:solidFill>
              </a:endParaRPr>
            </a:p>
          </p:txBody>
        </p:sp>
        <p:sp>
          <p:nvSpPr>
            <p:cNvPr id="41" name="Freeform 4">
              <a:extLst>
                <a:ext uri="{FF2B5EF4-FFF2-40B4-BE49-F238E27FC236}">
                  <a16:creationId xmlns:a16="http://schemas.microsoft.com/office/drawing/2014/main" id="{2246A36A-338C-4A4E-A78D-8D2DDB37A05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3650" r:id="rId2"/>
    <p:sldLayoutId id="2147484057" r:id="rId3"/>
    <p:sldLayoutId id="2147484059" r:id="rId4"/>
    <p:sldLayoutId id="2147483998" r:id="rId5"/>
    <p:sldLayoutId id="2147483999" r:id="rId6"/>
    <p:sldLayoutId id="2147484000" r:id="rId7"/>
    <p:sldLayoutId id="2147483652" r:id="rId8"/>
    <p:sldLayoutId id="2147483653" r:id="rId9"/>
    <p:sldLayoutId id="2147483654" r:id="rId10"/>
    <p:sldLayoutId id="2147483938" r:id="rId11"/>
    <p:sldLayoutId id="2147483972" r:id="rId12"/>
    <p:sldLayoutId id="2147483963" r:id="rId13"/>
    <p:sldLayoutId id="2147483953" r:id="rId14"/>
    <p:sldLayoutId id="2147484001" r:id="rId15"/>
    <p:sldLayoutId id="2147484002" r:id="rId16"/>
    <p:sldLayoutId id="2147483971" r:id="rId17"/>
    <p:sldLayoutId id="2147483956" r:id="rId18"/>
    <p:sldLayoutId id="2147483992" r:id="rId19"/>
    <p:sldLayoutId id="2147484060" r:id="rId20"/>
    <p:sldLayoutId id="2147484054" r:id="rId21"/>
    <p:sldLayoutId id="2147484030" r:id="rId22"/>
    <p:sldLayoutId id="2147484028" r:id="rId23"/>
    <p:sldLayoutId id="2147483701" r:id="rId24"/>
    <p:sldLayoutId id="2147484061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88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8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41732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7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hyperlink" Target="https://pwdcsv-wcqa54d.ptcnet.ptc.com/Windchill/oslc/catalog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hyperlink" Target="https://pwdcsv-wcqa54d.ptcnet.ptc.com/Windchill/oslc/catalog/config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hyperlink" Target="https://pwdcsv-wcqa54d.ptcnet.ptc.com/Windchill/oslc/config/parts" TargetMode="Externa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hyperlink" Target="https://pwdcsv-wcqa54d.ptcnet.ptc.com/Windchill/oslc/config/versionParts" TargetMode="Externa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hyperlink" Target="https://pwdcsv-wcqa54d.ptcnet.ptc.com/Windchill/oslc/config/links/traceLinkResources?oslc.where=wnc:traceLinkTargetURI=https://ppuwsv-alm15t.ptcnet.ptc.com:9101/api/oslc/projects/5/rm/requirements/1274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C9B7F8-F06F-4E9B-95B5-B05974962B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January 2023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62E55D-4D82-4AC6-B19F-54FFC4102C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3422" y="2719901"/>
            <a:ext cx="4409826" cy="1043747"/>
          </a:xfrm>
        </p:spPr>
        <p:txBody>
          <a:bodyPr/>
          <a:lstStyle/>
          <a:p>
            <a:r>
              <a:rPr lang="en-US"/>
              <a:t>Oslc Product Domain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CE314915-6DA6-49E4-AC3D-A0BC07D763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PTC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13092A-689A-40D1-A212-82C3F31860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058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Diagram, text&#10;&#10;Description automatically generated">
            <a:extLst>
              <a:ext uri="{FF2B5EF4-FFF2-40B4-BE49-F238E27FC236}">
                <a16:creationId xmlns:a16="http://schemas.microsoft.com/office/drawing/2014/main" id="{D34DD613-1CF8-7FF5-F0C0-8B23F25DF1E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1475" y="663224"/>
            <a:ext cx="11303920" cy="5618703"/>
          </a:xfrm>
        </p:spPr>
      </p:pic>
    </p:spTree>
    <p:extLst>
      <p:ext uri="{BB962C8B-B14F-4D97-AF65-F5344CB8AC3E}">
        <p14:creationId xmlns:p14="http://schemas.microsoft.com/office/powerpoint/2010/main" val="186082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Diagram, text&#10;&#10;Description automatically generated">
            <a:extLst>
              <a:ext uri="{FF2B5EF4-FFF2-40B4-BE49-F238E27FC236}">
                <a16:creationId xmlns:a16="http://schemas.microsoft.com/office/drawing/2014/main" id="{0D4018ED-C12C-F3AC-11E3-382B3947A7D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13024" y="654851"/>
            <a:ext cx="11222687" cy="5819670"/>
          </a:xfrm>
        </p:spPr>
      </p:pic>
    </p:spTree>
    <p:extLst>
      <p:ext uri="{BB962C8B-B14F-4D97-AF65-F5344CB8AC3E}">
        <p14:creationId xmlns:p14="http://schemas.microsoft.com/office/powerpoint/2010/main" val="252644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Diagram&#10;&#10;Description automatically generated">
            <a:extLst>
              <a:ext uri="{FF2B5EF4-FFF2-40B4-BE49-F238E27FC236}">
                <a16:creationId xmlns:a16="http://schemas.microsoft.com/office/drawing/2014/main" id="{75E91606-A48B-EC6F-3BF8-A36B5132C61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8104" y="621357"/>
            <a:ext cx="11264089" cy="5710813"/>
          </a:xfrm>
        </p:spPr>
      </p:pic>
    </p:spTree>
    <p:extLst>
      <p:ext uri="{BB962C8B-B14F-4D97-AF65-F5344CB8AC3E}">
        <p14:creationId xmlns:p14="http://schemas.microsoft.com/office/powerpoint/2010/main" val="3254079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Diagram, schematic&#10;&#10;Description automatically generated">
            <a:extLst>
              <a:ext uri="{FF2B5EF4-FFF2-40B4-BE49-F238E27FC236}">
                <a16:creationId xmlns:a16="http://schemas.microsoft.com/office/drawing/2014/main" id="{3CD2D135-C4F1-B5CC-CE36-10D14166863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58345" y="654851"/>
            <a:ext cx="11305957" cy="5493098"/>
          </a:xfrm>
        </p:spPr>
      </p:pic>
    </p:spTree>
    <p:extLst>
      <p:ext uri="{BB962C8B-B14F-4D97-AF65-F5344CB8AC3E}">
        <p14:creationId xmlns:p14="http://schemas.microsoft.com/office/powerpoint/2010/main" val="4011987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Diagram, schematic&#10;&#10;Description automatically generated">
            <a:extLst>
              <a:ext uri="{FF2B5EF4-FFF2-40B4-BE49-F238E27FC236}">
                <a16:creationId xmlns:a16="http://schemas.microsoft.com/office/drawing/2014/main" id="{7661469F-8427-1F97-1EB6-1F5474AB53C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16477" y="654851"/>
            <a:ext cx="11398067" cy="5710813"/>
          </a:xfrm>
        </p:spPr>
      </p:pic>
    </p:spTree>
    <p:extLst>
      <p:ext uri="{BB962C8B-B14F-4D97-AF65-F5344CB8AC3E}">
        <p14:creationId xmlns:p14="http://schemas.microsoft.com/office/powerpoint/2010/main" val="3739080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Diagram, schematic&#10;&#10;Description automatically generated">
            <a:extLst>
              <a:ext uri="{FF2B5EF4-FFF2-40B4-BE49-F238E27FC236}">
                <a16:creationId xmlns:a16="http://schemas.microsoft.com/office/drawing/2014/main" id="{2B1417D9-BBA4-003D-E71D-BF48023ACDA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4609" y="495752"/>
            <a:ext cx="10594199" cy="5769428"/>
          </a:xfrm>
        </p:spPr>
      </p:pic>
    </p:spTree>
    <p:extLst>
      <p:ext uri="{BB962C8B-B14F-4D97-AF65-F5344CB8AC3E}">
        <p14:creationId xmlns:p14="http://schemas.microsoft.com/office/powerpoint/2010/main" val="55028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C60896E-01B6-40BF-8F97-A55C783730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M Linked Data</a:t>
            </a:r>
          </a:p>
        </p:txBody>
      </p:sp>
      <p:sp>
        <p:nvSpPr>
          <p:cNvPr id="6" name="Text Box 11">
            <a:extLst>
              <a:ext uri="{FF2B5EF4-FFF2-40B4-BE49-F238E27FC236}">
                <a16:creationId xmlns:a16="http://schemas.microsoft.com/office/drawing/2014/main" id="{55D85C78-1A32-4C12-ADE5-2B970DCD2B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4649" y="1559606"/>
            <a:ext cx="439094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800"/>
              <a:t>Version-To-Version Links</a:t>
            </a:r>
          </a:p>
        </p:txBody>
      </p:sp>
      <p:grpSp>
        <p:nvGrpSpPr>
          <p:cNvPr id="7" name="Group 16">
            <a:extLst>
              <a:ext uri="{FF2B5EF4-FFF2-40B4-BE49-F238E27FC236}">
                <a16:creationId xmlns:a16="http://schemas.microsoft.com/office/drawing/2014/main" id="{2C155466-E70E-47BD-99F8-82C0F0DE72FF}"/>
              </a:ext>
            </a:extLst>
          </p:cNvPr>
          <p:cNvGrpSpPr>
            <a:grpSpLocks/>
          </p:cNvGrpSpPr>
          <p:nvPr/>
        </p:nvGrpSpPr>
        <p:grpSpPr bwMode="auto">
          <a:xfrm>
            <a:off x="5843723" y="2523218"/>
            <a:ext cx="304800" cy="381000"/>
            <a:chOff x="1056" y="1488"/>
            <a:chExt cx="432" cy="672"/>
          </a:xfrm>
        </p:grpSpPr>
        <p:sp>
          <p:nvSpPr>
            <p:cNvPr id="8" name="AutoShape 17">
              <a:extLst>
                <a:ext uri="{FF2B5EF4-FFF2-40B4-BE49-F238E27FC236}">
                  <a16:creationId xmlns:a16="http://schemas.microsoft.com/office/drawing/2014/main" id="{B857E195-BEB5-4735-AFE6-443F97D5F40B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1056" y="1488"/>
              <a:ext cx="432" cy="672"/>
            </a:xfrm>
            <a:prstGeom prst="foldedCorner">
              <a:avLst>
                <a:gd name="adj" fmla="val 40282"/>
              </a:avLst>
            </a:prstGeom>
            <a:solidFill>
              <a:srgbClr val="FFCC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8">
              <a:extLst>
                <a:ext uri="{FF2B5EF4-FFF2-40B4-BE49-F238E27FC236}">
                  <a16:creationId xmlns:a16="http://schemas.microsoft.com/office/drawing/2014/main" id="{F2043ECC-CDBF-40D0-A711-AAC7FF7D9A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32"/>
              <a:ext cx="1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Line 19">
              <a:extLst>
                <a:ext uri="{FF2B5EF4-FFF2-40B4-BE49-F238E27FC236}">
                  <a16:creationId xmlns:a16="http://schemas.microsoft.com/office/drawing/2014/main" id="{D9F1A92F-DCC2-4F1F-B4F5-C874A8EE49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728"/>
              <a:ext cx="24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Line 20">
              <a:extLst>
                <a:ext uri="{FF2B5EF4-FFF2-40B4-BE49-F238E27FC236}">
                  <a16:creationId xmlns:a16="http://schemas.microsoft.com/office/drawing/2014/main" id="{04734464-AF07-459F-AA4F-161C3F0B1C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824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Line 21">
              <a:extLst>
                <a:ext uri="{FF2B5EF4-FFF2-40B4-BE49-F238E27FC236}">
                  <a16:creationId xmlns:a16="http://schemas.microsoft.com/office/drawing/2014/main" id="{C79CEBF5-97E8-4BD6-BAAB-F2588310AA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20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Line 22">
              <a:extLst>
                <a:ext uri="{FF2B5EF4-FFF2-40B4-BE49-F238E27FC236}">
                  <a16:creationId xmlns:a16="http://schemas.microsoft.com/office/drawing/2014/main" id="{9ED131FC-83B7-4ADC-A0A6-3833F2E162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016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15" name="Picture 13">
            <a:extLst>
              <a:ext uri="{FF2B5EF4-FFF2-40B4-BE49-F238E27FC236}">
                <a16:creationId xmlns:a16="http://schemas.microsoft.com/office/drawing/2014/main" id="{C3AACA74-2920-46FB-9D12-628D6E9CDC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-20000"/>
            <a:grayscl/>
          </a:blip>
          <a:srcRect/>
          <a:stretch>
            <a:fillRect/>
          </a:stretch>
        </p:blipFill>
        <p:spPr bwMode="auto">
          <a:xfrm>
            <a:off x="2660485" y="2561318"/>
            <a:ext cx="381000" cy="376238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pic>
        <p:nvPicPr>
          <p:cNvPr id="16" name="Picture 14">
            <a:extLst>
              <a:ext uri="{FF2B5EF4-FFF2-40B4-BE49-F238E27FC236}">
                <a16:creationId xmlns:a16="http://schemas.microsoft.com/office/drawing/2014/main" id="{F67C4668-67B9-484E-8A04-5C4805DF25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41485" y="3018518"/>
            <a:ext cx="3810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5">
            <a:extLst>
              <a:ext uri="{FF2B5EF4-FFF2-40B4-BE49-F238E27FC236}">
                <a16:creationId xmlns:a16="http://schemas.microsoft.com/office/drawing/2014/main" id="{0108B5D5-15EF-4744-B604-CC6BF9BA9F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55685" y="3018518"/>
            <a:ext cx="3810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" name="AutoShape 24">
            <a:extLst>
              <a:ext uri="{FF2B5EF4-FFF2-40B4-BE49-F238E27FC236}">
                <a16:creationId xmlns:a16="http://schemas.microsoft.com/office/drawing/2014/main" id="{D9AF3104-C861-4417-B56B-279C9CD9BEA2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2546185" y="2937556"/>
            <a:ext cx="304800" cy="8096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9" name="AutoShape 25">
            <a:extLst>
              <a:ext uri="{FF2B5EF4-FFF2-40B4-BE49-F238E27FC236}">
                <a16:creationId xmlns:a16="http://schemas.microsoft.com/office/drawing/2014/main" id="{E8371E35-F9CD-445D-A358-E6D3BAF141A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850985" y="2937556"/>
            <a:ext cx="381000" cy="8096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0" name="AutoShape 26">
            <a:extLst>
              <a:ext uri="{FF2B5EF4-FFF2-40B4-BE49-F238E27FC236}">
                <a16:creationId xmlns:a16="http://schemas.microsoft.com/office/drawing/2014/main" id="{7C9073D4-DAF6-4A83-B710-23182CEE416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736685" y="3207431"/>
            <a:ext cx="30480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grpSp>
        <p:nvGrpSpPr>
          <p:cNvPr id="21" name="Group 27">
            <a:extLst>
              <a:ext uri="{FF2B5EF4-FFF2-40B4-BE49-F238E27FC236}">
                <a16:creationId xmlns:a16="http://schemas.microsoft.com/office/drawing/2014/main" id="{FBF7F534-DA56-4D07-B9C0-CF52FF09039F}"/>
              </a:ext>
            </a:extLst>
          </p:cNvPr>
          <p:cNvGrpSpPr>
            <a:grpSpLocks/>
          </p:cNvGrpSpPr>
          <p:nvPr/>
        </p:nvGrpSpPr>
        <p:grpSpPr bwMode="auto">
          <a:xfrm>
            <a:off x="5615123" y="2980418"/>
            <a:ext cx="152400" cy="228600"/>
            <a:chOff x="1056" y="1488"/>
            <a:chExt cx="432" cy="672"/>
          </a:xfrm>
        </p:grpSpPr>
        <p:sp>
          <p:nvSpPr>
            <p:cNvPr id="22" name="AutoShape 28">
              <a:extLst>
                <a:ext uri="{FF2B5EF4-FFF2-40B4-BE49-F238E27FC236}">
                  <a16:creationId xmlns:a16="http://schemas.microsoft.com/office/drawing/2014/main" id="{4B64B4FB-AB3D-4AD7-8869-56CA39D21A67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1056" y="1488"/>
              <a:ext cx="432" cy="672"/>
            </a:xfrm>
            <a:prstGeom prst="foldedCorner">
              <a:avLst>
                <a:gd name="adj" fmla="val 40282"/>
              </a:avLst>
            </a:prstGeom>
            <a:solidFill>
              <a:srgbClr val="FFCC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" name="Line 29">
              <a:extLst>
                <a:ext uri="{FF2B5EF4-FFF2-40B4-BE49-F238E27FC236}">
                  <a16:creationId xmlns:a16="http://schemas.microsoft.com/office/drawing/2014/main" id="{CD17FE05-7982-440E-9D6A-608FD0C633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32"/>
              <a:ext cx="1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Line 30">
              <a:extLst>
                <a:ext uri="{FF2B5EF4-FFF2-40B4-BE49-F238E27FC236}">
                  <a16:creationId xmlns:a16="http://schemas.microsoft.com/office/drawing/2014/main" id="{235177C0-8806-4FE6-9853-82C309473C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728"/>
              <a:ext cx="24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Line 31">
              <a:extLst>
                <a:ext uri="{FF2B5EF4-FFF2-40B4-BE49-F238E27FC236}">
                  <a16:creationId xmlns:a16="http://schemas.microsoft.com/office/drawing/2014/main" id="{8D75B659-C83D-410E-BDC4-5BF7F75444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824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Line 32">
              <a:extLst>
                <a:ext uri="{FF2B5EF4-FFF2-40B4-BE49-F238E27FC236}">
                  <a16:creationId xmlns:a16="http://schemas.microsoft.com/office/drawing/2014/main" id="{C8D18D38-7212-4342-9FEB-1D6C45CAA7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20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Line 33">
              <a:extLst>
                <a:ext uri="{FF2B5EF4-FFF2-40B4-BE49-F238E27FC236}">
                  <a16:creationId xmlns:a16="http://schemas.microsoft.com/office/drawing/2014/main" id="{FDA3BF92-EF87-4985-A4E7-E43101266C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016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8" name="Group 48">
            <a:extLst>
              <a:ext uri="{FF2B5EF4-FFF2-40B4-BE49-F238E27FC236}">
                <a16:creationId xmlns:a16="http://schemas.microsoft.com/office/drawing/2014/main" id="{15C89149-1909-4AB0-BD5E-CDE8EA23C1ED}"/>
              </a:ext>
            </a:extLst>
          </p:cNvPr>
          <p:cNvGrpSpPr>
            <a:grpSpLocks/>
          </p:cNvGrpSpPr>
          <p:nvPr/>
        </p:nvGrpSpPr>
        <p:grpSpPr bwMode="auto">
          <a:xfrm>
            <a:off x="5869123" y="2980418"/>
            <a:ext cx="152400" cy="228600"/>
            <a:chOff x="1056" y="1488"/>
            <a:chExt cx="432" cy="672"/>
          </a:xfrm>
        </p:grpSpPr>
        <p:sp>
          <p:nvSpPr>
            <p:cNvPr id="29" name="AutoShape 49">
              <a:extLst>
                <a:ext uri="{FF2B5EF4-FFF2-40B4-BE49-F238E27FC236}">
                  <a16:creationId xmlns:a16="http://schemas.microsoft.com/office/drawing/2014/main" id="{D90A3042-EDFF-4FE4-9A07-08C4E170E59D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1056" y="1488"/>
              <a:ext cx="432" cy="672"/>
            </a:xfrm>
            <a:prstGeom prst="foldedCorner">
              <a:avLst>
                <a:gd name="adj" fmla="val 40282"/>
              </a:avLst>
            </a:prstGeom>
            <a:solidFill>
              <a:srgbClr val="FFCC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" name="Line 50">
              <a:extLst>
                <a:ext uri="{FF2B5EF4-FFF2-40B4-BE49-F238E27FC236}">
                  <a16:creationId xmlns:a16="http://schemas.microsoft.com/office/drawing/2014/main" id="{E6A91D42-3172-45C5-B8E8-A78DCAB021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32"/>
              <a:ext cx="1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Line 51">
              <a:extLst>
                <a:ext uri="{FF2B5EF4-FFF2-40B4-BE49-F238E27FC236}">
                  <a16:creationId xmlns:a16="http://schemas.microsoft.com/office/drawing/2014/main" id="{8EB1E898-6A4A-4ADB-ADF3-32E2198BB8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728"/>
              <a:ext cx="24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Line 52">
              <a:extLst>
                <a:ext uri="{FF2B5EF4-FFF2-40B4-BE49-F238E27FC236}">
                  <a16:creationId xmlns:a16="http://schemas.microsoft.com/office/drawing/2014/main" id="{474D6A0C-DB79-42A5-8DDA-D66445BCA2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824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Line 53">
              <a:extLst>
                <a:ext uri="{FF2B5EF4-FFF2-40B4-BE49-F238E27FC236}">
                  <a16:creationId xmlns:a16="http://schemas.microsoft.com/office/drawing/2014/main" id="{AA9F8DA6-9AF0-4156-BEFC-2F4A3FE215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20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Line 54">
              <a:extLst>
                <a:ext uri="{FF2B5EF4-FFF2-40B4-BE49-F238E27FC236}">
                  <a16:creationId xmlns:a16="http://schemas.microsoft.com/office/drawing/2014/main" id="{B9F3131F-9659-4C01-AFDB-2E38B5A0C9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016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5" name="Group 55">
            <a:extLst>
              <a:ext uri="{FF2B5EF4-FFF2-40B4-BE49-F238E27FC236}">
                <a16:creationId xmlns:a16="http://schemas.microsoft.com/office/drawing/2014/main" id="{54F84D65-C698-4689-8EBA-375D69C5B04C}"/>
              </a:ext>
            </a:extLst>
          </p:cNvPr>
          <p:cNvGrpSpPr>
            <a:grpSpLocks/>
          </p:cNvGrpSpPr>
          <p:nvPr/>
        </p:nvGrpSpPr>
        <p:grpSpPr bwMode="auto">
          <a:xfrm>
            <a:off x="6123123" y="2980418"/>
            <a:ext cx="152400" cy="228600"/>
            <a:chOff x="1056" y="1488"/>
            <a:chExt cx="432" cy="672"/>
          </a:xfrm>
        </p:grpSpPr>
        <p:sp>
          <p:nvSpPr>
            <p:cNvPr id="36" name="AutoShape 56">
              <a:extLst>
                <a:ext uri="{FF2B5EF4-FFF2-40B4-BE49-F238E27FC236}">
                  <a16:creationId xmlns:a16="http://schemas.microsoft.com/office/drawing/2014/main" id="{3897CFBC-4337-4759-9A99-E6B41BB6197D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1056" y="1488"/>
              <a:ext cx="432" cy="672"/>
            </a:xfrm>
            <a:prstGeom prst="foldedCorner">
              <a:avLst>
                <a:gd name="adj" fmla="val 40282"/>
              </a:avLst>
            </a:prstGeom>
            <a:solidFill>
              <a:srgbClr val="FFCC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" name="Line 57">
              <a:extLst>
                <a:ext uri="{FF2B5EF4-FFF2-40B4-BE49-F238E27FC236}">
                  <a16:creationId xmlns:a16="http://schemas.microsoft.com/office/drawing/2014/main" id="{1DF32334-A9BF-4D23-9CB0-4D8C57DB50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32"/>
              <a:ext cx="1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Line 58">
              <a:extLst>
                <a:ext uri="{FF2B5EF4-FFF2-40B4-BE49-F238E27FC236}">
                  <a16:creationId xmlns:a16="http://schemas.microsoft.com/office/drawing/2014/main" id="{478E7650-125B-412B-8C38-9AC75DB44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728"/>
              <a:ext cx="24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Line 59">
              <a:extLst>
                <a:ext uri="{FF2B5EF4-FFF2-40B4-BE49-F238E27FC236}">
                  <a16:creationId xmlns:a16="http://schemas.microsoft.com/office/drawing/2014/main" id="{5DBEE5CB-0B5A-4F04-9C04-AF542CD5DA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824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Line 60">
              <a:extLst>
                <a:ext uri="{FF2B5EF4-FFF2-40B4-BE49-F238E27FC236}">
                  <a16:creationId xmlns:a16="http://schemas.microsoft.com/office/drawing/2014/main" id="{AD6BC08E-CBC7-4CEC-ABF5-0C123E556D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20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Line 61">
              <a:extLst>
                <a:ext uri="{FF2B5EF4-FFF2-40B4-BE49-F238E27FC236}">
                  <a16:creationId xmlns:a16="http://schemas.microsoft.com/office/drawing/2014/main" id="{FB166200-2B01-4969-97B9-EC2ABCDD24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016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2" name="Group 62">
            <a:extLst>
              <a:ext uri="{FF2B5EF4-FFF2-40B4-BE49-F238E27FC236}">
                <a16:creationId xmlns:a16="http://schemas.microsoft.com/office/drawing/2014/main" id="{6EFBAC2F-17DB-4F4C-886F-C0775FB5F88C}"/>
              </a:ext>
            </a:extLst>
          </p:cNvPr>
          <p:cNvGrpSpPr>
            <a:grpSpLocks/>
          </p:cNvGrpSpPr>
          <p:nvPr/>
        </p:nvGrpSpPr>
        <p:grpSpPr bwMode="auto">
          <a:xfrm>
            <a:off x="6377123" y="2980418"/>
            <a:ext cx="152400" cy="228600"/>
            <a:chOff x="1056" y="1488"/>
            <a:chExt cx="432" cy="672"/>
          </a:xfrm>
        </p:grpSpPr>
        <p:sp>
          <p:nvSpPr>
            <p:cNvPr id="43" name="AutoShape 63">
              <a:extLst>
                <a:ext uri="{FF2B5EF4-FFF2-40B4-BE49-F238E27FC236}">
                  <a16:creationId xmlns:a16="http://schemas.microsoft.com/office/drawing/2014/main" id="{F037B682-FE70-4C09-9F6E-A69A02939DFC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1056" y="1488"/>
              <a:ext cx="432" cy="672"/>
            </a:xfrm>
            <a:prstGeom prst="foldedCorner">
              <a:avLst>
                <a:gd name="adj" fmla="val 40282"/>
              </a:avLst>
            </a:prstGeom>
            <a:solidFill>
              <a:srgbClr val="FFCC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4" name="Line 64">
              <a:extLst>
                <a:ext uri="{FF2B5EF4-FFF2-40B4-BE49-F238E27FC236}">
                  <a16:creationId xmlns:a16="http://schemas.microsoft.com/office/drawing/2014/main" id="{6EFE8629-4342-4209-BBCC-4581631306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32"/>
              <a:ext cx="1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Line 65">
              <a:extLst>
                <a:ext uri="{FF2B5EF4-FFF2-40B4-BE49-F238E27FC236}">
                  <a16:creationId xmlns:a16="http://schemas.microsoft.com/office/drawing/2014/main" id="{D6A02AC9-33CD-416E-A5D6-CA1D4D5594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728"/>
              <a:ext cx="24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Line 66">
              <a:extLst>
                <a:ext uri="{FF2B5EF4-FFF2-40B4-BE49-F238E27FC236}">
                  <a16:creationId xmlns:a16="http://schemas.microsoft.com/office/drawing/2014/main" id="{3879ACDE-DABF-4681-A812-82240C676D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824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Line 67">
              <a:extLst>
                <a:ext uri="{FF2B5EF4-FFF2-40B4-BE49-F238E27FC236}">
                  <a16:creationId xmlns:a16="http://schemas.microsoft.com/office/drawing/2014/main" id="{84C59800-71CD-4C27-BC54-4FB5849FD3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20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Line 68">
              <a:extLst>
                <a:ext uri="{FF2B5EF4-FFF2-40B4-BE49-F238E27FC236}">
                  <a16:creationId xmlns:a16="http://schemas.microsoft.com/office/drawing/2014/main" id="{FE5EC9BF-6649-4235-BE57-EF58F0E5EB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016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9" name="Group 69">
            <a:extLst>
              <a:ext uri="{FF2B5EF4-FFF2-40B4-BE49-F238E27FC236}">
                <a16:creationId xmlns:a16="http://schemas.microsoft.com/office/drawing/2014/main" id="{B055557F-8E42-4DB9-8BBD-B920F8DFEEA7}"/>
              </a:ext>
            </a:extLst>
          </p:cNvPr>
          <p:cNvGrpSpPr>
            <a:grpSpLocks/>
          </p:cNvGrpSpPr>
          <p:nvPr/>
        </p:nvGrpSpPr>
        <p:grpSpPr bwMode="auto">
          <a:xfrm>
            <a:off x="5919923" y="4418693"/>
            <a:ext cx="304800" cy="381000"/>
            <a:chOff x="1056" y="1488"/>
            <a:chExt cx="432" cy="672"/>
          </a:xfrm>
        </p:grpSpPr>
        <p:sp>
          <p:nvSpPr>
            <p:cNvPr id="50" name="AutoShape 70">
              <a:extLst>
                <a:ext uri="{FF2B5EF4-FFF2-40B4-BE49-F238E27FC236}">
                  <a16:creationId xmlns:a16="http://schemas.microsoft.com/office/drawing/2014/main" id="{60254708-F4D1-4D55-B15D-AFAABF73EB66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1056" y="1488"/>
              <a:ext cx="432" cy="672"/>
            </a:xfrm>
            <a:prstGeom prst="foldedCorner">
              <a:avLst>
                <a:gd name="adj" fmla="val 40282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1" name="Line 71">
              <a:extLst>
                <a:ext uri="{FF2B5EF4-FFF2-40B4-BE49-F238E27FC236}">
                  <a16:creationId xmlns:a16="http://schemas.microsoft.com/office/drawing/2014/main" id="{47A30966-1B27-479C-9E8E-749413A26C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32"/>
              <a:ext cx="1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Line 72">
              <a:extLst>
                <a:ext uri="{FF2B5EF4-FFF2-40B4-BE49-F238E27FC236}">
                  <a16:creationId xmlns:a16="http://schemas.microsoft.com/office/drawing/2014/main" id="{95727695-D852-45AC-BB9D-0F186D3AD0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728"/>
              <a:ext cx="24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Line 73">
              <a:extLst>
                <a:ext uri="{FF2B5EF4-FFF2-40B4-BE49-F238E27FC236}">
                  <a16:creationId xmlns:a16="http://schemas.microsoft.com/office/drawing/2014/main" id="{915D06B2-04D7-4315-91DA-DB8FBDCE20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824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Line 74">
              <a:extLst>
                <a:ext uri="{FF2B5EF4-FFF2-40B4-BE49-F238E27FC236}">
                  <a16:creationId xmlns:a16="http://schemas.microsoft.com/office/drawing/2014/main" id="{F5024590-1047-424A-860A-20AC5DD8B4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20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Line 75">
              <a:extLst>
                <a:ext uri="{FF2B5EF4-FFF2-40B4-BE49-F238E27FC236}">
                  <a16:creationId xmlns:a16="http://schemas.microsoft.com/office/drawing/2014/main" id="{7460A0DB-251D-4CFB-A1E4-7B70D4D961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016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56" name="Group 76">
            <a:extLst>
              <a:ext uri="{FF2B5EF4-FFF2-40B4-BE49-F238E27FC236}">
                <a16:creationId xmlns:a16="http://schemas.microsoft.com/office/drawing/2014/main" id="{D7E98B35-6082-43AA-A53A-0F38D852EF68}"/>
              </a:ext>
            </a:extLst>
          </p:cNvPr>
          <p:cNvGrpSpPr>
            <a:grpSpLocks/>
          </p:cNvGrpSpPr>
          <p:nvPr/>
        </p:nvGrpSpPr>
        <p:grpSpPr bwMode="auto">
          <a:xfrm>
            <a:off x="5691323" y="4875893"/>
            <a:ext cx="152400" cy="228600"/>
            <a:chOff x="1056" y="1488"/>
            <a:chExt cx="432" cy="672"/>
          </a:xfrm>
        </p:grpSpPr>
        <p:sp>
          <p:nvSpPr>
            <p:cNvPr id="57" name="AutoShape 77">
              <a:extLst>
                <a:ext uri="{FF2B5EF4-FFF2-40B4-BE49-F238E27FC236}">
                  <a16:creationId xmlns:a16="http://schemas.microsoft.com/office/drawing/2014/main" id="{FF622AF4-3A06-4237-9A7D-804780BB7986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1056" y="1488"/>
              <a:ext cx="432" cy="672"/>
            </a:xfrm>
            <a:prstGeom prst="foldedCorner">
              <a:avLst>
                <a:gd name="adj" fmla="val 40282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8" name="Line 78">
              <a:extLst>
                <a:ext uri="{FF2B5EF4-FFF2-40B4-BE49-F238E27FC236}">
                  <a16:creationId xmlns:a16="http://schemas.microsoft.com/office/drawing/2014/main" id="{A7886B67-E77D-483F-ABFE-BC228DB9B5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32"/>
              <a:ext cx="1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Line 79">
              <a:extLst>
                <a:ext uri="{FF2B5EF4-FFF2-40B4-BE49-F238E27FC236}">
                  <a16:creationId xmlns:a16="http://schemas.microsoft.com/office/drawing/2014/main" id="{BB00F91D-64FA-4C22-B7D0-EA959E4A64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728"/>
              <a:ext cx="24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Line 80">
              <a:extLst>
                <a:ext uri="{FF2B5EF4-FFF2-40B4-BE49-F238E27FC236}">
                  <a16:creationId xmlns:a16="http://schemas.microsoft.com/office/drawing/2014/main" id="{026D5369-744C-4712-B4EB-74EF2A6035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824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Line 81">
              <a:extLst>
                <a:ext uri="{FF2B5EF4-FFF2-40B4-BE49-F238E27FC236}">
                  <a16:creationId xmlns:a16="http://schemas.microsoft.com/office/drawing/2014/main" id="{C1AF7EDA-CA3A-4ED2-BCB8-64ECC1EC23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20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Line 82">
              <a:extLst>
                <a:ext uri="{FF2B5EF4-FFF2-40B4-BE49-F238E27FC236}">
                  <a16:creationId xmlns:a16="http://schemas.microsoft.com/office/drawing/2014/main" id="{556B14CD-34FD-4034-B46B-9BD6515AD8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016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63" name="Group 83">
            <a:extLst>
              <a:ext uri="{FF2B5EF4-FFF2-40B4-BE49-F238E27FC236}">
                <a16:creationId xmlns:a16="http://schemas.microsoft.com/office/drawing/2014/main" id="{46AE1055-6339-4523-9704-8E20D5C648DC}"/>
              </a:ext>
            </a:extLst>
          </p:cNvPr>
          <p:cNvGrpSpPr>
            <a:grpSpLocks/>
          </p:cNvGrpSpPr>
          <p:nvPr/>
        </p:nvGrpSpPr>
        <p:grpSpPr bwMode="auto">
          <a:xfrm>
            <a:off x="5945323" y="4875893"/>
            <a:ext cx="152400" cy="228600"/>
            <a:chOff x="1056" y="1488"/>
            <a:chExt cx="432" cy="672"/>
          </a:xfrm>
        </p:grpSpPr>
        <p:sp>
          <p:nvSpPr>
            <p:cNvPr id="64" name="AutoShape 84">
              <a:extLst>
                <a:ext uri="{FF2B5EF4-FFF2-40B4-BE49-F238E27FC236}">
                  <a16:creationId xmlns:a16="http://schemas.microsoft.com/office/drawing/2014/main" id="{4FC199AA-FF11-4E85-855C-B0B28390A6EC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1056" y="1488"/>
              <a:ext cx="432" cy="672"/>
            </a:xfrm>
            <a:prstGeom prst="foldedCorner">
              <a:avLst>
                <a:gd name="adj" fmla="val 40282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5" name="Line 85">
              <a:extLst>
                <a:ext uri="{FF2B5EF4-FFF2-40B4-BE49-F238E27FC236}">
                  <a16:creationId xmlns:a16="http://schemas.microsoft.com/office/drawing/2014/main" id="{02FF503B-A26D-4CD9-8FD6-9A907B0E5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32"/>
              <a:ext cx="1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Line 86">
              <a:extLst>
                <a:ext uri="{FF2B5EF4-FFF2-40B4-BE49-F238E27FC236}">
                  <a16:creationId xmlns:a16="http://schemas.microsoft.com/office/drawing/2014/main" id="{06546375-CCAD-42E5-A4C3-7E1809F676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728"/>
              <a:ext cx="24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Line 87">
              <a:extLst>
                <a:ext uri="{FF2B5EF4-FFF2-40B4-BE49-F238E27FC236}">
                  <a16:creationId xmlns:a16="http://schemas.microsoft.com/office/drawing/2014/main" id="{2F35F0E2-7957-4F3A-A00B-BD13C94E69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824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Line 88">
              <a:extLst>
                <a:ext uri="{FF2B5EF4-FFF2-40B4-BE49-F238E27FC236}">
                  <a16:creationId xmlns:a16="http://schemas.microsoft.com/office/drawing/2014/main" id="{2C01E011-3100-4D53-B38E-1CB1F9FA69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20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Line 89">
              <a:extLst>
                <a:ext uri="{FF2B5EF4-FFF2-40B4-BE49-F238E27FC236}">
                  <a16:creationId xmlns:a16="http://schemas.microsoft.com/office/drawing/2014/main" id="{3CBEC5A7-3D67-4136-AD76-3213BB0C24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016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70" name="Group 90">
            <a:extLst>
              <a:ext uri="{FF2B5EF4-FFF2-40B4-BE49-F238E27FC236}">
                <a16:creationId xmlns:a16="http://schemas.microsoft.com/office/drawing/2014/main" id="{6E5DB154-EA0B-4926-B91F-76E7ED6FE81A}"/>
              </a:ext>
            </a:extLst>
          </p:cNvPr>
          <p:cNvGrpSpPr>
            <a:grpSpLocks/>
          </p:cNvGrpSpPr>
          <p:nvPr/>
        </p:nvGrpSpPr>
        <p:grpSpPr bwMode="auto">
          <a:xfrm>
            <a:off x="6199323" y="4875893"/>
            <a:ext cx="152400" cy="228600"/>
            <a:chOff x="1056" y="1488"/>
            <a:chExt cx="432" cy="672"/>
          </a:xfrm>
        </p:grpSpPr>
        <p:sp>
          <p:nvSpPr>
            <p:cNvPr id="71" name="AutoShape 91">
              <a:extLst>
                <a:ext uri="{FF2B5EF4-FFF2-40B4-BE49-F238E27FC236}">
                  <a16:creationId xmlns:a16="http://schemas.microsoft.com/office/drawing/2014/main" id="{58BD4718-9EAD-4412-9F5C-F4C7B9A56946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1056" y="1488"/>
              <a:ext cx="432" cy="672"/>
            </a:xfrm>
            <a:prstGeom prst="foldedCorner">
              <a:avLst>
                <a:gd name="adj" fmla="val 40282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" name="Line 92">
              <a:extLst>
                <a:ext uri="{FF2B5EF4-FFF2-40B4-BE49-F238E27FC236}">
                  <a16:creationId xmlns:a16="http://schemas.microsoft.com/office/drawing/2014/main" id="{58ADD38C-72E7-4717-AC93-E8FC6F358D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32"/>
              <a:ext cx="1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Line 93">
              <a:extLst>
                <a:ext uri="{FF2B5EF4-FFF2-40B4-BE49-F238E27FC236}">
                  <a16:creationId xmlns:a16="http://schemas.microsoft.com/office/drawing/2014/main" id="{BEDE48B5-04C9-4EA5-9598-8E6D2BBAE3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728"/>
              <a:ext cx="24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Line 94">
              <a:extLst>
                <a:ext uri="{FF2B5EF4-FFF2-40B4-BE49-F238E27FC236}">
                  <a16:creationId xmlns:a16="http://schemas.microsoft.com/office/drawing/2014/main" id="{6254A585-5258-4D96-A974-C8FA69D891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824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Line 95">
              <a:extLst>
                <a:ext uri="{FF2B5EF4-FFF2-40B4-BE49-F238E27FC236}">
                  <a16:creationId xmlns:a16="http://schemas.microsoft.com/office/drawing/2014/main" id="{01CECA5D-D6D5-4D65-8D5B-3089902791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20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Line 96">
              <a:extLst>
                <a:ext uri="{FF2B5EF4-FFF2-40B4-BE49-F238E27FC236}">
                  <a16:creationId xmlns:a16="http://schemas.microsoft.com/office/drawing/2014/main" id="{15A11F5A-B62F-4121-87A6-C213EA19E2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016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77" name="Group 97">
            <a:extLst>
              <a:ext uri="{FF2B5EF4-FFF2-40B4-BE49-F238E27FC236}">
                <a16:creationId xmlns:a16="http://schemas.microsoft.com/office/drawing/2014/main" id="{8ECE9CE5-D6D5-472D-944A-A06C625FE6F0}"/>
              </a:ext>
            </a:extLst>
          </p:cNvPr>
          <p:cNvGrpSpPr>
            <a:grpSpLocks/>
          </p:cNvGrpSpPr>
          <p:nvPr/>
        </p:nvGrpSpPr>
        <p:grpSpPr bwMode="auto">
          <a:xfrm>
            <a:off x="6453323" y="4875893"/>
            <a:ext cx="152400" cy="228600"/>
            <a:chOff x="1056" y="1488"/>
            <a:chExt cx="432" cy="672"/>
          </a:xfrm>
        </p:grpSpPr>
        <p:sp>
          <p:nvSpPr>
            <p:cNvPr id="78" name="AutoShape 98">
              <a:extLst>
                <a:ext uri="{FF2B5EF4-FFF2-40B4-BE49-F238E27FC236}">
                  <a16:creationId xmlns:a16="http://schemas.microsoft.com/office/drawing/2014/main" id="{D4848B30-EE56-491F-A0AA-FF0E0066BB54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1056" y="1488"/>
              <a:ext cx="432" cy="672"/>
            </a:xfrm>
            <a:prstGeom prst="foldedCorner">
              <a:avLst>
                <a:gd name="adj" fmla="val 40282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9" name="Line 99">
              <a:extLst>
                <a:ext uri="{FF2B5EF4-FFF2-40B4-BE49-F238E27FC236}">
                  <a16:creationId xmlns:a16="http://schemas.microsoft.com/office/drawing/2014/main" id="{893D0DA2-A641-4845-B26E-F6A9DA5068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32"/>
              <a:ext cx="1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Line 100">
              <a:extLst>
                <a:ext uri="{FF2B5EF4-FFF2-40B4-BE49-F238E27FC236}">
                  <a16:creationId xmlns:a16="http://schemas.microsoft.com/office/drawing/2014/main" id="{36906D86-413D-4A67-A830-9A9BEAFBFA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728"/>
              <a:ext cx="24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Line 101">
              <a:extLst>
                <a:ext uri="{FF2B5EF4-FFF2-40B4-BE49-F238E27FC236}">
                  <a16:creationId xmlns:a16="http://schemas.microsoft.com/office/drawing/2014/main" id="{1766A70B-4ACE-4703-9256-4DEE724BBF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824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" name="Line 102">
              <a:extLst>
                <a:ext uri="{FF2B5EF4-FFF2-40B4-BE49-F238E27FC236}">
                  <a16:creationId xmlns:a16="http://schemas.microsoft.com/office/drawing/2014/main" id="{7C75FCF2-A55A-4BB6-99EF-406CAD5AFE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20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" name="Line 103">
              <a:extLst>
                <a:ext uri="{FF2B5EF4-FFF2-40B4-BE49-F238E27FC236}">
                  <a16:creationId xmlns:a16="http://schemas.microsoft.com/office/drawing/2014/main" id="{88049F10-C203-428E-90B3-A3D0261A61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016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84" name="Rectangle 104">
            <a:extLst>
              <a:ext uri="{FF2B5EF4-FFF2-40B4-BE49-F238E27FC236}">
                <a16:creationId xmlns:a16="http://schemas.microsoft.com/office/drawing/2014/main" id="{20AF6334-8AB5-4FCA-8078-2E35DE870F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8923" y="2951843"/>
            <a:ext cx="762000" cy="304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5" name="Rectangle 105">
            <a:extLst>
              <a:ext uri="{FF2B5EF4-FFF2-40B4-BE49-F238E27FC236}">
                <a16:creationId xmlns:a16="http://schemas.microsoft.com/office/drawing/2014/main" id="{4A71A976-CDE4-4209-9838-1030868D30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27823" y="4856843"/>
            <a:ext cx="762000" cy="304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cxnSp>
        <p:nvCxnSpPr>
          <p:cNvPr id="86" name="AutoShape 106">
            <a:extLst>
              <a:ext uri="{FF2B5EF4-FFF2-40B4-BE49-F238E27FC236}">
                <a16:creationId xmlns:a16="http://schemas.microsoft.com/office/drawing/2014/main" id="{25CB5015-3616-4329-BEA6-60E237BFD809}"/>
              </a:ext>
            </a:extLst>
          </p:cNvPr>
          <p:cNvCxnSpPr>
            <a:cxnSpLocks noChangeShapeType="1"/>
            <a:stCxn id="16" idx="2"/>
            <a:endCxn id="78" idx="0"/>
          </p:cNvCxnSpPr>
          <p:nvPr/>
        </p:nvCxnSpPr>
        <p:spPr bwMode="auto">
          <a:xfrm rot="16200000" flipH="1">
            <a:off x="4025886" y="2600855"/>
            <a:ext cx="1709737" cy="3297538"/>
          </a:xfrm>
          <a:prstGeom prst="bentConnector3">
            <a:avLst>
              <a:gd name="adj1" fmla="val 128412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87" name="AutoShape 107">
            <a:extLst>
              <a:ext uri="{FF2B5EF4-FFF2-40B4-BE49-F238E27FC236}">
                <a16:creationId xmlns:a16="http://schemas.microsoft.com/office/drawing/2014/main" id="{335997B8-9D9D-4498-A293-D2DD74365D44}"/>
              </a:ext>
            </a:extLst>
          </p:cNvPr>
          <p:cNvCxnSpPr>
            <a:cxnSpLocks noChangeShapeType="1"/>
            <a:stCxn id="16" idx="2"/>
            <a:endCxn id="36" idx="0"/>
          </p:cNvCxnSpPr>
          <p:nvPr/>
        </p:nvCxnSpPr>
        <p:spPr bwMode="auto">
          <a:xfrm rot="5400000" flipH="1" flipV="1">
            <a:off x="4622785" y="1818218"/>
            <a:ext cx="185738" cy="2967338"/>
          </a:xfrm>
          <a:prstGeom prst="bentConnector3">
            <a:avLst>
              <a:gd name="adj1" fmla="val -123077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</p:spPr>
      </p:cxnSp>
      <p:sp>
        <p:nvSpPr>
          <p:cNvPr id="88" name="Text Box 108">
            <a:extLst>
              <a:ext uri="{FF2B5EF4-FFF2-40B4-BE49-F238E27FC236}">
                <a16:creationId xmlns:a16="http://schemas.microsoft.com/office/drawing/2014/main" id="{83391384-D0D8-4304-A7E2-92AE5AC258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04123" y="2553381"/>
            <a:ext cx="112723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/>
              <a:t>Describes</a:t>
            </a:r>
          </a:p>
        </p:txBody>
      </p:sp>
      <p:sp>
        <p:nvSpPr>
          <p:cNvPr id="89" name="Text Box 109">
            <a:extLst>
              <a:ext uri="{FF2B5EF4-FFF2-40B4-BE49-F238E27FC236}">
                <a16:creationId xmlns:a16="http://schemas.microsoft.com/office/drawing/2014/main" id="{2E476F7A-CCAF-42A5-924F-4867945D4C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27923" y="4372656"/>
            <a:ext cx="117211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/>
              <a:t>Reference</a:t>
            </a:r>
          </a:p>
        </p:txBody>
      </p:sp>
      <p:sp>
        <p:nvSpPr>
          <p:cNvPr id="90" name="Rectangle 110">
            <a:extLst>
              <a:ext uri="{FF2B5EF4-FFF2-40B4-BE49-F238E27FC236}">
                <a16:creationId xmlns:a16="http://schemas.microsoft.com/office/drawing/2014/main" id="{DE67F916-C4AE-449F-BE84-567033FDEE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48548" y="2942318"/>
            <a:ext cx="762000" cy="304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1" name="Rectangle 111">
            <a:extLst>
              <a:ext uri="{FF2B5EF4-FFF2-40B4-BE49-F238E27FC236}">
                <a16:creationId xmlns:a16="http://schemas.microsoft.com/office/drawing/2014/main" id="{B9F6C692-7330-4479-A7A1-50C7CEBD16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5223" y="4856843"/>
            <a:ext cx="762000" cy="304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2" name="Text Box 112">
            <a:extLst>
              <a:ext uri="{FF2B5EF4-FFF2-40B4-BE49-F238E27FC236}">
                <a16:creationId xmlns:a16="http://schemas.microsoft.com/office/drawing/2014/main" id="{2ADD2B70-34E8-439E-A56A-4F9539A1AE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9248" y="3283631"/>
            <a:ext cx="1539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/>
              <a:t>A.1</a:t>
            </a:r>
          </a:p>
        </p:txBody>
      </p:sp>
      <p:sp>
        <p:nvSpPr>
          <p:cNvPr id="93" name="Text Box 113">
            <a:extLst>
              <a:ext uri="{FF2B5EF4-FFF2-40B4-BE49-F238E27FC236}">
                <a16:creationId xmlns:a16="http://schemas.microsoft.com/office/drawing/2014/main" id="{FDEF6D70-5AAF-46F6-B12E-50D410C41E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5473" y="3283631"/>
            <a:ext cx="1539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/>
              <a:t>A.2</a:t>
            </a:r>
          </a:p>
        </p:txBody>
      </p:sp>
      <p:sp>
        <p:nvSpPr>
          <p:cNvPr id="94" name="Text Box 114">
            <a:extLst>
              <a:ext uri="{FF2B5EF4-FFF2-40B4-BE49-F238E27FC236}">
                <a16:creationId xmlns:a16="http://schemas.microsoft.com/office/drawing/2014/main" id="{ADFF8BC9-44AB-403E-B8A3-969792F78D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7723" y="3283631"/>
            <a:ext cx="1539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/>
              <a:t>A.3</a:t>
            </a:r>
          </a:p>
        </p:txBody>
      </p:sp>
      <p:sp>
        <p:nvSpPr>
          <p:cNvPr id="95" name="Text Box 115">
            <a:extLst>
              <a:ext uri="{FF2B5EF4-FFF2-40B4-BE49-F238E27FC236}">
                <a16:creationId xmlns:a16="http://schemas.microsoft.com/office/drawing/2014/main" id="{33FFA3F1-A654-402E-991B-E5FC7F857F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70773" y="3283631"/>
            <a:ext cx="1539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/>
              <a:t>B.1</a:t>
            </a:r>
          </a:p>
        </p:txBody>
      </p:sp>
      <p:sp>
        <p:nvSpPr>
          <p:cNvPr id="96" name="Text Box 116">
            <a:extLst>
              <a:ext uri="{FF2B5EF4-FFF2-40B4-BE49-F238E27FC236}">
                <a16:creationId xmlns:a16="http://schemas.microsoft.com/office/drawing/2014/main" id="{272082E8-E944-49FA-9707-68042FC757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2748" y="5179106"/>
            <a:ext cx="1539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/>
              <a:t>A.1</a:t>
            </a:r>
          </a:p>
        </p:txBody>
      </p:sp>
      <p:sp>
        <p:nvSpPr>
          <p:cNvPr id="97" name="Text Box 117">
            <a:extLst>
              <a:ext uri="{FF2B5EF4-FFF2-40B4-BE49-F238E27FC236}">
                <a16:creationId xmlns:a16="http://schemas.microsoft.com/office/drawing/2014/main" id="{504897ED-9D53-4A8E-931A-DC9066AB3B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38973" y="5179106"/>
            <a:ext cx="1539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/>
              <a:t>A.2</a:t>
            </a:r>
          </a:p>
        </p:txBody>
      </p:sp>
      <p:sp>
        <p:nvSpPr>
          <p:cNvPr id="98" name="Text Box 118">
            <a:extLst>
              <a:ext uri="{FF2B5EF4-FFF2-40B4-BE49-F238E27FC236}">
                <a16:creationId xmlns:a16="http://schemas.microsoft.com/office/drawing/2014/main" id="{F5A498A2-0019-4862-B455-A892099DDE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61223" y="5179106"/>
            <a:ext cx="1539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/>
              <a:t>A.3</a:t>
            </a:r>
          </a:p>
        </p:txBody>
      </p:sp>
      <p:sp>
        <p:nvSpPr>
          <p:cNvPr id="99" name="Text Box 119">
            <a:extLst>
              <a:ext uri="{FF2B5EF4-FFF2-40B4-BE49-F238E27FC236}">
                <a16:creationId xmlns:a16="http://schemas.microsoft.com/office/drawing/2014/main" id="{534DA7F0-04A9-49FE-B69B-A9BD1E7C4F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34273" y="5179106"/>
            <a:ext cx="1539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/>
              <a:t>B.1</a:t>
            </a:r>
          </a:p>
        </p:txBody>
      </p:sp>
      <p:sp>
        <p:nvSpPr>
          <p:cNvPr id="100" name="Text Box 120">
            <a:extLst>
              <a:ext uri="{FF2B5EF4-FFF2-40B4-BE49-F238E27FC236}">
                <a16:creationId xmlns:a16="http://schemas.microsoft.com/office/drawing/2014/main" id="{F5B0B35F-5277-407A-8888-A1D6B272EC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1710" y="3388406"/>
            <a:ext cx="1539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/>
              <a:t>A.1</a:t>
            </a:r>
          </a:p>
        </p:txBody>
      </p:sp>
      <p:sp>
        <p:nvSpPr>
          <p:cNvPr id="101" name="Text Box 121">
            <a:extLst>
              <a:ext uri="{FF2B5EF4-FFF2-40B4-BE49-F238E27FC236}">
                <a16:creationId xmlns:a16="http://schemas.microsoft.com/office/drawing/2014/main" id="{B4226909-E61B-436E-B2AD-485FE493CF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97035" y="3378881"/>
            <a:ext cx="1539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/>
              <a:t>A.2</a:t>
            </a:r>
          </a:p>
        </p:txBody>
      </p:sp>
      <p:cxnSp>
        <p:nvCxnSpPr>
          <p:cNvPr id="102" name="AutoShape 122">
            <a:extLst>
              <a:ext uri="{FF2B5EF4-FFF2-40B4-BE49-F238E27FC236}">
                <a16:creationId xmlns:a16="http://schemas.microsoft.com/office/drawing/2014/main" id="{52977A92-0DC9-407B-880D-8C46CA22578A}"/>
              </a:ext>
            </a:extLst>
          </p:cNvPr>
          <p:cNvCxnSpPr>
            <a:cxnSpLocks noChangeShapeType="1"/>
            <a:stCxn id="16" idx="2"/>
            <a:endCxn id="71" idx="0"/>
          </p:cNvCxnSpPr>
          <p:nvPr/>
        </p:nvCxnSpPr>
        <p:spPr bwMode="auto">
          <a:xfrm rot="16200000" flipH="1">
            <a:off x="3898886" y="2727855"/>
            <a:ext cx="1709737" cy="3043538"/>
          </a:xfrm>
          <a:prstGeom prst="bentConnector3">
            <a:avLst>
              <a:gd name="adj1" fmla="val 128412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</p:spPr>
      </p:cxnSp>
      <p:sp>
        <p:nvSpPr>
          <p:cNvPr id="119" name="Speech Bubble: Rectangle 118">
            <a:extLst>
              <a:ext uri="{FF2B5EF4-FFF2-40B4-BE49-F238E27FC236}">
                <a16:creationId xmlns:a16="http://schemas.microsoft.com/office/drawing/2014/main" id="{803507AD-FC8E-4268-890F-6BFDDCECE8A4}"/>
              </a:ext>
            </a:extLst>
          </p:cNvPr>
          <p:cNvSpPr/>
          <p:nvPr/>
        </p:nvSpPr>
        <p:spPr>
          <a:xfrm>
            <a:off x="8210550" y="3378881"/>
            <a:ext cx="2209800" cy="1039812"/>
          </a:xfrm>
          <a:prstGeom prst="wedgeRectCallout">
            <a:avLst>
              <a:gd name="adj1" fmla="val -122988"/>
              <a:gd name="adj2" fmla="val -72157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800">
                <a:solidFill>
                  <a:sysClr val="windowText" lastClr="000000"/>
                </a:solidFill>
              </a:rPr>
              <a:t>To Link to Version B.1 explicit action must be taken</a:t>
            </a:r>
          </a:p>
        </p:txBody>
      </p:sp>
      <p:pic>
        <p:nvPicPr>
          <p:cNvPr id="120" name="Picture 14">
            <a:extLst>
              <a:ext uri="{FF2B5EF4-FFF2-40B4-BE49-F238E27FC236}">
                <a16:creationId xmlns:a16="http://schemas.microsoft.com/office/drawing/2014/main" id="{D0A69E5B-7E65-4125-8761-357446B8C2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0142" y="2990738"/>
            <a:ext cx="3810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1" name="AutoShape 25">
            <a:extLst>
              <a:ext uri="{FF2B5EF4-FFF2-40B4-BE49-F238E27FC236}">
                <a16:creationId xmlns:a16="http://schemas.microsoft.com/office/drawing/2014/main" id="{705CE2D1-B91E-42F9-9868-C4D2B456FD2C}"/>
              </a:ext>
            </a:extLst>
          </p:cNvPr>
          <p:cNvCxnSpPr>
            <a:cxnSpLocks noChangeShapeType="1"/>
            <a:stCxn id="15" idx="2"/>
          </p:cNvCxnSpPr>
          <p:nvPr/>
        </p:nvCxnSpPr>
        <p:spPr bwMode="auto">
          <a:xfrm>
            <a:off x="2850985" y="2937556"/>
            <a:ext cx="1015357" cy="111124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124" name="Text Box 120">
            <a:extLst>
              <a:ext uri="{FF2B5EF4-FFF2-40B4-BE49-F238E27FC236}">
                <a16:creationId xmlns:a16="http://schemas.microsoft.com/office/drawing/2014/main" id="{6F2CC69B-78EC-40EB-8121-682C7343FB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11088" y="3333525"/>
            <a:ext cx="13144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/>
              <a:t>B.1</a:t>
            </a:r>
          </a:p>
        </p:txBody>
      </p:sp>
      <p:cxnSp>
        <p:nvCxnSpPr>
          <p:cNvPr id="125" name="AutoShape 107">
            <a:extLst>
              <a:ext uri="{FF2B5EF4-FFF2-40B4-BE49-F238E27FC236}">
                <a16:creationId xmlns:a16="http://schemas.microsoft.com/office/drawing/2014/main" id="{E6536D26-A50F-4AEE-B538-8180CC58EE70}"/>
              </a:ext>
            </a:extLst>
          </p:cNvPr>
          <p:cNvCxnSpPr>
            <a:cxnSpLocks noChangeShapeType="1"/>
            <a:stCxn id="120" idx="2"/>
            <a:endCxn id="43" idx="0"/>
          </p:cNvCxnSpPr>
          <p:nvPr/>
        </p:nvCxnSpPr>
        <p:spPr bwMode="auto">
          <a:xfrm rot="5400000" flipH="1" flipV="1">
            <a:off x="5138003" y="2051656"/>
            <a:ext cx="157958" cy="2472681"/>
          </a:xfrm>
          <a:prstGeom prst="bentConnector3">
            <a:avLst>
              <a:gd name="adj1" fmla="val -162814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</p:spPr>
      </p:cxnSp>
    </p:spTree>
    <p:extLst>
      <p:ext uri="{BB962C8B-B14F-4D97-AF65-F5344CB8AC3E}">
        <p14:creationId xmlns:p14="http://schemas.microsoft.com/office/powerpoint/2010/main" val="682074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9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5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3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6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4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0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6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2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8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3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6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9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5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2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5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8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1" fill="hold">
                      <p:stCondLst>
                        <p:cond delay="indefinite"/>
                      </p:stCondLst>
                      <p:childTnLst>
                        <p:par>
                          <p:cTn id="142" fill="hold">
                            <p:stCondLst>
                              <p:cond delay="0"/>
                            </p:stCondLst>
                            <p:childTnLst>
                              <p:par>
                                <p:cTn id="14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5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4" grpId="0" animBg="1"/>
      <p:bldP spid="85" grpId="0" animBg="1"/>
      <p:bldP spid="88" grpId="0"/>
      <p:bldP spid="89" grpId="0"/>
      <p:bldP spid="90" grpId="0" animBg="1"/>
      <p:bldP spid="91" grpId="0" animBg="1"/>
      <p:bldP spid="92" grpId="0"/>
      <p:bldP spid="93" grpId="0"/>
      <p:bldP spid="94" grpId="0"/>
      <p:bldP spid="95" grpId="0"/>
      <p:bldP spid="96" grpId="0"/>
      <p:bldP spid="97" grpId="0"/>
      <p:bldP spid="98" grpId="0"/>
      <p:bldP spid="99" grpId="0"/>
      <p:bldP spid="100" grpId="0"/>
      <p:bldP spid="101" grpId="0"/>
      <p:bldP spid="119" grpId="0" animBg="1"/>
      <p:bldP spid="12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91C16B-0189-4361-A622-1EBEA4A73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1B63537B-879D-42A9-B0A8-1F36D39D417B}"/>
              </a:ext>
            </a:extLst>
          </p:cNvPr>
          <p:cNvSpPr txBox="1">
            <a:spLocks/>
          </p:cNvSpPr>
          <p:nvPr/>
        </p:nvSpPr>
        <p:spPr>
          <a:xfrm>
            <a:off x="4620987" y="3013499"/>
            <a:ext cx="7080476" cy="83099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457200" indent="-457200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bg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lang="en-US" sz="3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Tx/>
              <a:buBlip>
                <a:blip r:embed="rId4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688" indent="-274320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720" indent="-22860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Pct val="100000"/>
              <a:buFontTx/>
              <a:buBlip>
                <a:blip r:embed="rId6"/>
              </a:buBlip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17320" indent="-22860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FontTx/>
              <a:buBlip>
                <a:blip r:embed="rId5"/>
              </a:buBlip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457200">
              <a:spcBef>
                <a:spcPts val="0"/>
              </a:spcBef>
            </a:pPr>
            <a:r>
              <a:rPr lang="en-GB" sz="2000">
                <a:latin typeface="Calibri" panose="020F0502020204030204" pitchFamily="34" charset="0"/>
                <a:ea typeface="Calibri" panose="020F0502020204030204" pitchFamily="34" charset="0"/>
              </a:rPr>
              <a:t>Windchill PLM configuration management practices (20 mins) </a:t>
            </a:r>
          </a:p>
          <a:p>
            <a:pPr marL="0">
              <a:spcBef>
                <a:spcPts val="0"/>
              </a:spcBef>
            </a:pPr>
            <a:r>
              <a:rPr lang="en-GB" sz="200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Summary of current PTC  implementation  (15 mins)</a:t>
            </a:r>
          </a:p>
          <a:p>
            <a:pPr marL="0">
              <a:spcBef>
                <a:spcPts val="0"/>
              </a:spcBef>
            </a:pPr>
            <a:r>
              <a:rPr lang="en-GB" sz="2000">
                <a:latin typeface="Calibri" panose="020F0502020204030204" pitchFamily="34" charset="0"/>
                <a:ea typeface="Calibri" panose="020F0502020204030204" pitchFamily="34" charset="0"/>
              </a:rPr>
              <a:t>Feedback and Current limitations (15 mins)</a:t>
            </a:r>
          </a:p>
        </p:txBody>
      </p:sp>
    </p:spTree>
    <p:extLst>
      <p:ext uri="{BB962C8B-B14F-4D97-AF65-F5344CB8AC3E}">
        <p14:creationId xmlns:p14="http://schemas.microsoft.com/office/powerpoint/2010/main" val="2351347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4960E64-9ACE-407E-A679-3A4649E47F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174016"/>
            <a:ext cx="10789920" cy="4572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>
                <a:hlinkClick r:id="rId2"/>
              </a:rPr>
              <a:t>https</a:t>
            </a:r>
            <a:r>
              <a:rPr lang="en-US" sz="1600" dirty="0">
                <a:ea typeface="+mn-lt"/>
                <a:cs typeface="+mn-lt"/>
                <a:hlinkClick r:id="rId2"/>
              </a:rPr>
              <a:t>://pwdcsv-wcqa54d.ptcnet.ptc.com/Windchill/oslc/catalog</a:t>
            </a:r>
            <a:endParaRPr lang="en-US" sz="1600" dirty="0">
              <a:ea typeface="+mn-lt"/>
              <a:cs typeface="+mn-lt"/>
            </a:endParaRP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67EF75-7435-40D0-9F8D-E543F2587F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GB"/>
              <a:t>Windchill as OSLC server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80369592-0DEA-53F9-C509-F975B2DB88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083" y="1574277"/>
            <a:ext cx="11041462" cy="5040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118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4960E64-9ACE-407E-A679-3A4649E47F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140521"/>
            <a:ext cx="10789920" cy="4572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>
                <a:hlinkClick r:id="rId2"/>
              </a:rPr>
              <a:t>https</a:t>
            </a:r>
            <a:r>
              <a:rPr lang="en-US" sz="1600" dirty="0">
                <a:ea typeface="+mn-lt"/>
                <a:cs typeface="+mn-lt"/>
                <a:hlinkClick r:id="rId2"/>
              </a:rPr>
              <a:t>://pwdcsv-wcqa54d.ptcnet.ptc.com/Windchill/oslc/catalog/config</a:t>
            </a:r>
            <a:endParaRPr lang="en-US" sz="1600" dirty="0">
              <a:ea typeface="+mn-lt"/>
              <a:cs typeface="+mn-lt"/>
            </a:endParaRPr>
          </a:p>
          <a:p>
            <a:endParaRPr lang="en-US" sz="1600"/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67EF75-7435-40D0-9F8D-E543F2587F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GB">
                <a:ea typeface="+mj-lt"/>
                <a:cs typeface="+mj-lt"/>
              </a:rPr>
              <a:t>Windchill OSLC services</a:t>
            </a:r>
            <a:endParaRPr lang="en-US"/>
          </a:p>
        </p:txBody>
      </p:sp>
      <p:pic>
        <p:nvPicPr>
          <p:cNvPr id="3" name="Picture 5" descr="Text&#10;&#10;Description automatically generated">
            <a:extLst>
              <a:ext uri="{FF2B5EF4-FFF2-40B4-BE49-F238E27FC236}">
                <a16:creationId xmlns:a16="http://schemas.microsoft.com/office/drawing/2014/main" id="{0873ADB4-35D2-7781-07FB-B2DA1256CB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346" y="1521009"/>
            <a:ext cx="10915858" cy="5030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871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91C16B-0189-4361-A622-1EBEA4A73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F640D9-CE40-45F7-B495-98C175E48C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20987" y="3013499"/>
            <a:ext cx="7080476" cy="830997"/>
          </a:xfrm>
        </p:spPr>
        <p:txBody>
          <a:bodyPr/>
          <a:lstStyle/>
          <a:p>
            <a:pPr marL="0" marR="0" indent="457200">
              <a:spcBef>
                <a:spcPts val="0"/>
              </a:spcBef>
              <a:spcAft>
                <a:spcPts val="0"/>
              </a:spcAft>
            </a:pPr>
            <a:r>
              <a:rPr lang="en-US" sz="2000">
                <a:solidFill>
                  <a:schemeClr val="accent5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ndchill PLM configuration management practices (20 mins)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ummary of current PTC  implementation  (15 mins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eedback and Current limitations (15 mins)</a:t>
            </a:r>
          </a:p>
        </p:txBody>
      </p:sp>
    </p:spTree>
    <p:extLst>
      <p:ext uri="{BB962C8B-B14F-4D97-AF65-F5344CB8AC3E}">
        <p14:creationId xmlns:p14="http://schemas.microsoft.com/office/powerpoint/2010/main" val="3095954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4960E64-9ACE-407E-A679-3A4649E47F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140521"/>
            <a:ext cx="10789920" cy="4572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>
                <a:hlinkClick r:id="rId2"/>
              </a:rPr>
              <a:t>https</a:t>
            </a:r>
            <a:r>
              <a:rPr lang="en-US" sz="1600" dirty="0">
                <a:ea typeface="+mn-lt"/>
                <a:cs typeface="+mn-lt"/>
                <a:hlinkClick r:id="rId2"/>
              </a:rPr>
              <a:t>://pwdcsv-wcqa54d.ptcnet.ptc.com/Windchill/oslc/config/parts</a:t>
            </a:r>
            <a:endParaRPr lang="en-US" sz="1600" dirty="0">
              <a:ea typeface="+mn-lt"/>
              <a:cs typeface="+mn-lt"/>
            </a:endParaRPr>
          </a:p>
          <a:p>
            <a:endParaRPr lang="en-US" sz="1600"/>
          </a:p>
          <a:p>
            <a:endParaRPr lang="en-US" sz="1600"/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67EF75-7435-40D0-9F8D-E543F2587F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GB"/>
              <a:t>SEARCH FOR PARTS</a:t>
            </a:r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7187B029-D457-729F-19A2-DBDD9DAE01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686" y="1534207"/>
            <a:ext cx="9785419" cy="4903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266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4960E64-9ACE-407E-A679-3A4649E47F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140521"/>
            <a:ext cx="10789920" cy="4572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dirty="0">
                <a:ea typeface="+mn-lt"/>
                <a:cs typeface="+mn-lt"/>
                <a:hlinkClick r:id="rId2"/>
              </a:rPr>
              <a:t>https://pwdcsv-wcqa54d.ptcnet.ptc.com/Windchill/oslc/config/versionParts</a:t>
            </a:r>
            <a:endParaRPr lang="en-US" sz="1600" dirty="0">
              <a:ea typeface="+mn-lt"/>
              <a:cs typeface="+mn-lt"/>
            </a:endParaRPr>
          </a:p>
          <a:p>
            <a:endParaRPr lang="en-US" sz="1600" dirty="0">
              <a:ea typeface="+mn-lt"/>
              <a:cs typeface="+mn-lt"/>
            </a:endParaRPr>
          </a:p>
          <a:p>
            <a:endParaRPr lang="en-US" sz="1600"/>
          </a:p>
          <a:p>
            <a:endParaRPr lang="en-US" sz="1600"/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67EF75-7435-40D0-9F8D-E543F2587F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GB" dirty="0"/>
              <a:t>SEARCH FOR PART versions</a:t>
            </a:r>
          </a:p>
        </p:txBody>
      </p:sp>
      <p:pic>
        <p:nvPicPr>
          <p:cNvPr id="3" name="Picture 5" descr="Timeline&#10;&#10;Description automatically generated">
            <a:extLst>
              <a:ext uri="{FF2B5EF4-FFF2-40B4-BE49-F238E27FC236}">
                <a16:creationId xmlns:a16="http://schemas.microsoft.com/office/drawing/2014/main" id="{D7EE8949-2B5C-32BA-B17B-81ABA06FCA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018" y="1520152"/>
            <a:ext cx="11315699" cy="4747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207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4960E64-9ACE-407E-A679-3A4649E47F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140521"/>
            <a:ext cx="10789920" cy="4572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dirty="0">
                <a:ea typeface="+mn-lt"/>
                <a:cs typeface="+mn-lt"/>
                <a:hlinkClick r:id="rId2"/>
              </a:rPr>
              <a:t>https://pwdcsv-wcqa54d.ptcnet.ptc.com/Windchill/oslc/config/links/traceLinkResources?oslc.where=wnc:traceLinkTargetURI=https://ppuwsv-alm15t.ptcnet.ptc.com:9101/api/oslc/projects/5/rm/requirements/1274</a:t>
            </a:r>
            <a:endParaRPr lang="en-US" sz="1600">
              <a:ea typeface="+mn-lt"/>
              <a:cs typeface="+mn-lt"/>
            </a:endParaRPr>
          </a:p>
          <a:p>
            <a:endParaRPr lang="en-US" sz="1600" dirty="0"/>
          </a:p>
          <a:p>
            <a:endParaRPr lang="en-US" sz="1600"/>
          </a:p>
          <a:p>
            <a:endParaRPr lang="en-US" sz="1600"/>
          </a:p>
          <a:p>
            <a:endParaRPr lang="en-US" sz="8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67EF75-7435-40D0-9F8D-E543F2587F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GB" dirty="0"/>
              <a:t>Reverse look-up service</a:t>
            </a:r>
          </a:p>
        </p:txBody>
      </p:sp>
      <p:pic>
        <p:nvPicPr>
          <p:cNvPr id="3" name="Picture 5" descr="A picture containing timeline&#10;&#10;Description automatically generated">
            <a:extLst>
              <a:ext uri="{FF2B5EF4-FFF2-40B4-BE49-F238E27FC236}">
                <a16:creationId xmlns:a16="http://schemas.microsoft.com/office/drawing/2014/main" id="{902A26BE-9833-AA99-E48F-ADFE431523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7518" y="1884830"/>
            <a:ext cx="11024346" cy="4701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97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7E939E6-2031-4A6D-A712-D1656BD18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401648"/>
          </a:xfrm>
        </p:spPr>
        <p:txBody>
          <a:bodyPr/>
          <a:lstStyle/>
          <a:p>
            <a:r>
              <a:rPr lang="en-US" sz="32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how Modeler OSLC Client links to Windchill PLM parts</a:t>
            </a:r>
            <a:endParaRPr lang="en-US"/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16680131-9548-450E-97BE-2EFFD34D46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579" y="1645160"/>
            <a:ext cx="4793844" cy="4956048"/>
          </a:xfrm>
        </p:spPr>
        <p:txBody>
          <a:bodyPr/>
          <a:lstStyle/>
          <a:p>
            <a:pPr marL="274009" lvl="1" indent="-274009">
              <a:spcBef>
                <a:spcPts val="15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GB" sz="2400">
                <a:solidFill>
                  <a:schemeClr val="bg2"/>
                </a:solidFill>
              </a:rPr>
              <a:t>All Windchill Part versions are available for linking</a:t>
            </a:r>
          </a:p>
          <a:p>
            <a:pPr lvl="1"/>
            <a:r>
              <a:rPr lang="en-GB"/>
              <a:t>OSLC Links created using ‘</a:t>
            </a:r>
            <a:r>
              <a:rPr lang="en-GB" i="1"/>
              <a:t>parts’</a:t>
            </a:r>
            <a:r>
              <a:rPr lang="en-GB"/>
              <a:t> will be </a:t>
            </a:r>
            <a:r>
              <a:rPr lang="en-GB">
                <a:solidFill>
                  <a:schemeClr val="bg2"/>
                </a:solidFill>
              </a:rPr>
              <a:t>version-independent</a:t>
            </a:r>
          </a:p>
          <a:p>
            <a:pPr lvl="2"/>
            <a:r>
              <a:rPr lang="en-GB"/>
              <a:t>i.e. always point to the latest version</a:t>
            </a:r>
          </a:p>
          <a:p>
            <a:pPr lvl="1"/>
            <a:r>
              <a:rPr lang="en-GB"/>
              <a:t>OSLC Links created using ‘</a:t>
            </a:r>
            <a:r>
              <a:rPr lang="en-GB" i="1"/>
              <a:t>part versions’</a:t>
            </a:r>
            <a:r>
              <a:rPr lang="en-GB"/>
              <a:t> will be static and </a:t>
            </a:r>
            <a:r>
              <a:rPr lang="en-GB">
                <a:solidFill>
                  <a:schemeClr val="bg2"/>
                </a:solidFill>
              </a:rPr>
              <a:t>version-specific</a:t>
            </a:r>
          </a:p>
          <a:p>
            <a:pPr lvl="2"/>
            <a:r>
              <a:rPr lang="en-GB"/>
              <a:t>i.e. always point to a certain version</a:t>
            </a:r>
          </a:p>
          <a:p>
            <a:pPr lvl="1"/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26905A-B74B-4D78-8D01-4018775376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09031" y="1752055"/>
            <a:ext cx="3676190" cy="403809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9582DB1-93CC-48E0-9891-2367A191A578}"/>
              </a:ext>
            </a:extLst>
          </p:cNvPr>
          <p:cNvSpPr/>
          <p:nvPr/>
        </p:nvSpPr>
        <p:spPr>
          <a:xfrm>
            <a:off x="6614192" y="4358291"/>
            <a:ext cx="2971029" cy="124609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0C7226F-80B9-4871-A08F-2F396FC5ED89}"/>
              </a:ext>
            </a:extLst>
          </p:cNvPr>
          <p:cNvSpPr/>
          <p:nvPr/>
        </p:nvSpPr>
        <p:spPr>
          <a:xfrm>
            <a:off x="6614191" y="4358291"/>
            <a:ext cx="2971029" cy="22411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CAEC3A4D-CADC-4E1C-AD74-545E57EBD6F5}"/>
              </a:ext>
            </a:extLst>
          </p:cNvPr>
          <p:cNvSpPr/>
          <p:nvPr/>
        </p:nvSpPr>
        <p:spPr>
          <a:xfrm>
            <a:off x="10411265" y="2977726"/>
            <a:ext cx="1031186" cy="874059"/>
          </a:xfrm>
          <a:prstGeom prst="wedgeRectCallout">
            <a:avLst>
              <a:gd name="adj1" fmla="val -183290"/>
              <a:gd name="adj2" fmla="val 11865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ysClr val="windowText" lastClr="000000"/>
                </a:solidFill>
              </a:rPr>
              <a:t>Part (defaults to latest version)</a:t>
            </a: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C39FF2A7-BE60-48D6-9F48-47F6DF32DEE6}"/>
              </a:ext>
            </a:extLst>
          </p:cNvPr>
          <p:cNvSpPr/>
          <p:nvPr/>
        </p:nvSpPr>
        <p:spPr>
          <a:xfrm>
            <a:off x="10430885" y="5272691"/>
            <a:ext cx="1031186" cy="663388"/>
          </a:xfrm>
          <a:prstGeom prst="wedgeRectCallout">
            <a:avLst>
              <a:gd name="adj1" fmla="val -152862"/>
              <a:gd name="adj2" fmla="val -61239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ysClr val="windowText" lastClr="000000"/>
                </a:solidFill>
              </a:rPr>
              <a:t>All part versions</a:t>
            </a:r>
          </a:p>
        </p:txBody>
      </p:sp>
    </p:spTree>
    <p:extLst>
      <p:ext uri="{BB962C8B-B14F-4D97-AF65-F5344CB8AC3E}">
        <p14:creationId xmlns:p14="http://schemas.microsoft.com/office/powerpoint/2010/main" val="4175371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B91C16B-0189-4361-A622-1EBEA4A73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F97E426-8049-47E5-BA08-F710F695D8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20987" y="3013499"/>
            <a:ext cx="7080476" cy="830997"/>
          </a:xfrm>
        </p:spPr>
        <p:txBody>
          <a:bodyPr/>
          <a:lstStyle/>
          <a:p>
            <a:pPr marL="0" marR="0" indent="457200">
              <a:spcBef>
                <a:spcPts val="0"/>
              </a:spcBef>
              <a:spcAft>
                <a:spcPts val="0"/>
              </a:spcAft>
            </a:pPr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ndchill PLM configuration management practices (20 mins)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ummary of current PTC  implementation  (15 mins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>
                <a:solidFill>
                  <a:schemeClr val="accent5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eedback and Current limitations (15 mins)</a:t>
            </a:r>
          </a:p>
        </p:txBody>
      </p:sp>
    </p:spTree>
    <p:extLst>
      <p:ext uri="{BB962C8B-B14F-4D97-AF65-F5344CB8AC3E}">
        <p14:creationId xmlns:p14="http://schemas.microsoft.com/office/powerpoint/2010/main" val="2278034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A1ADA02-35F8-41FA-8884-4D63C2B849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25780" lvl="1" indent="-342900">
              <a:spcBef>
                <a:spcPts val="0"/>
              </a:spcBef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o dedicated representation for PLM part information in OSLC (other than the Architecture domain which was deemed too generic)</a:t>
            </a:r>
          </a:p>
          <a:p>
            <a:pPr marL="818388" lvl="2" indent="-342900">
              <a:spcBef>
                <a:spcPts val="0"/>
              </a:spcBef>
              <a:buFont typeface="Symbol" panose="05050102010706020507" pitchFamily="18" charset="2"/>
              <a:buChar char=""/>
            </a:pPr>
            <a:r>
              <a:rPr lang="en-US" sz="2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forcing vendors to use inappropriate OSLC domains</a:t>
            </a:r>
          </a:p>
          <a:p>
            <a:pPr marL="818388" lvl="2" indent="-342900">
              <a:spcBef>
                <a:spcPts val="0"/>
              </a:spcBef>
              <a:buFont typeface="Symbol" panose="05050102010706020507" pitchFamily="18" charset="2"/>
              <a:buChar char=""/>
            </a:pPr>
            <a:r>
              <a:rPr lang="en-US" sz="2200" dirty="0">
                <a:latin typeface="Calibri" panose="020F0502020204030204" pitchFamily="34" charset="0"/>
                <a:ea typeface="Times New Roman" panose="02020603050405020304" pitchFamily="18" charset="0"/>
              </a:rPr>
              <a:t>w</a:t>
            </a:r>
            <a:r>
              <a:rPr lang="en-US" sz="2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hich leads to poor quality data</a:t>
            </a:r>
          </a:p>
          <a:p>
            <a:pPr marL="818388" lvl="2" indent="-342900">
              <a:spcBef>
                <a:spcPts val="0"/>
              </a:spcBef>
              <a:buFont typeface="Symbol" panose="05050102010706020507" pitchFamily="18" charset="2"/>
              <a:buChar char=""/>
            </a:pPr>
            <a:r>
              <a:rPr lang="en-US" sz="2200" dirty="0">
                <a:latin typeface="Calibri" panose="020F0502020204030204" pitchFamily="34" charset="0"/>
                <a:ea typeface="Times New Roman" panose="02020603050405020304" pitchFamily="18" charset="0"/>
              </a:rPr>
              <a:t>which leads to poor </a:t>
            </a:r>
            <a:r>
              <a:rPr lang="en-US" sz="2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quality integrations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508C26-ACAD-4E5A-83CE-51DA126D6A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or PLM COVERAGE IN OSLC</a:t>
            </a:r>
          </a:p>
        </p:txBody>
      </p:sp>
    </p:spTree>
    <p:extLst>
      <p:ext uri="{BB962C8B-B14F-4D97-AF65-F5344CB8AC3E}">
        <p14:creationId xmlns:p14="http://schemas.microsoft.com/office/powerpoint/2010/main" val="187203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A1ADA02-35F8-41FA-8884-4D63C2B849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25780" lvl="1" indent="-342900">
              <a:spcBef>
                <a:spcPts val="0"/>
              </a:spcBef>
              <a:buFont typeface="Symbol" panose="05050102010706020507" pitchFamily="18" charset="2"/>
              <a:buChar char=""/>
            </a:pPr>
            <a:r>
              <a:rPr lang="en-US" sz="24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LM Parts and part versions are accessed one at a time</a:t>
            </a:r>
          </a:p>
          <a:p>
            <a:pPr marL="818388" lvl="2" indent="-342900">
              <a:spcBef>
                <a:spcPts val="0"/>
              </a:spcBef>
              <a:buFont typeface="Symbol" panose="05050102010706020507" pitchFamily="18" charset="2"/>
              <a:buChar char=""/>
            </a:pPr>
            <a:r>
              <a:rPr lang="en-US" sz="2200">
                <a:latin typeface="Calibri" panose="020F0502020204030204" pitchFamily="34" charset="0"/>
                <a:ea typeface="Calibri" panose="020F0502020204030204" pitchFamily="34" charset="0"/>
              </a:rPr>
              <a:t>Painful…</a:t>
            </a:r>
            <a:endParaRPr lang="en-US" sz="22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525780" lvl="1" indent="-342900">
              <a:spcBef>
                <a:spcPts val="0"/>
              </a:spcBef>
              <a:buFont typeface="Symbol" panose="05050102010706020507" pitchFamily="18" charset="2"/>
              <a:buChar char=""/>
            </a:pPr>
            <a:r>
              <a:rPr lang="en-US" sz="24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o structure information served up</a:t>
            </a:r>
          </a:p>
          <a:p>
            <a:pPr marL="818388" lvl="2" indent="-342900">
              <a:spcBef>
                <a:spcPts val="0"/>
              </a:spcBef>
              <a:buFont typeface="Symbol" panose="05050102010706020507" pitchFamily="18" charset="2"/>
              <a:buChar char=""/>
            </a:pPr>
            <a:r>
              <a:rPr lang="en-US" sz="2200">
                <a:latin typeface="Calibri" panose="020F0502020204030204" pitchFamily="34" charset="0"/>
                <a:ea typeface="Times New Roman" panose="02020603050405020304" pitchFamily="18" charset="0"/>
              </a:rPr>
              <a:t>Only see 1 small slice of the product</a:t>
            </a:r>
          </a:p>
          <a:p>
            <a:pPr marL="818388" lvl="2" indent="-342900">
              <a:spcBef>
                <a:spcPts val="0"/>
              </a:spcBef>
              <a:buFont typeface="Symbol" panose="05050102010706020507" pitchFamily="18" charset="2"/>
              <a:buChar char=""/>
            </a:pPr>
            <a:r>
              <a:rPr lang="en-US" sz="2200">
                <a:latin typeface="Calibri" panose="020F0502020204030204" pitchFamily="34" charset="0"/>
                <a:ea typeface="Times New Roman" panose="02020603050405020304" pitchFamily="18" charset="0"/>
              </a:rPr>
              <a:t>OSLC lacks clarity on </a:t>
            </a:r>
            <a:r>
              <a:rPr lang="en-US" sz="22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arent/child relationships for a </a:t>
            </a:r>
            <a:r>
              <a:rPr lang="en-US" sz="220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BoM</a:t>
            </a:r>
            <a:r>
              <a:rPr lang="en-US" sz="22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view</a:t>
            </a:r>
            <a:endParaRPr lang="en-US" sz="22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508C26-ACAD-4E5A-83CE-51DA126D6A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or UX, Weak Support for CM</a:t>
            </a:r>
          </a:p>
        </p:txBody>
      </p:sp>
    </p:spTree>
    <p:extLst>
      <p:ext uri="{BB962C8B-B14F-4D97-AF65-F5344CB8AC3E}">
        <p14:creationId xmlns:p14="http://schemas.microsoft.com/office/powerpoint/2010/main" val="3842479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0651130-EBD8-4D6F-AEDB-93B60B06D9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525780" lvl="1" indent="-342900">
              <a:spcBef>
                <a:spcPts val="0"/>
              </a:spcBef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/>
                <a:ea typeface="Times New Roman" panose="02020603050405020304" pitchFamily="18" charset="0"/>
                <a:cs typeface="Calibri"/>
              </a:rPr>
              <a:t>No configuration </a:t>
            </a:r>
            <a:r>
              <a:rPr lang="en-US" sz="2400" dirty="0">
                <a:latin typeface="Calibri"/>
                <a:ea typeface="Times New Roman" panose="02020603050405020304" pitchFamily="18" charset="0"/>
                <a:cs typeface="Calibri"/>
              </a:rPr>
              <a:t>management-based</a:t>
            </a:r>
            <a:r>
              <a:rPr lang="en-US" sz="2400" dirty="0">
                <a:effectLst/>
                <a:latin typeface="Calibri"/>
                <a:ea typeface="Times New Roman" panose="02020603050405020304" pitchFamily="18" charset="0"/>
                <a:cs typeface="Calibri"/>
              </a:rPr>
              <a:t> filtering possible as PLM Config Mgmt concepts not supported in OSLC.</a:t>
            </a:r>
            <a:r>
              <a:rPr lang="en-US" sz="2400" dirty="0">
                <a:latin typeface="Calibri"/>
                <a:ea typeface="Times New Roman" panose="02020603050405020304" pitchFamily="18" charset="0"/>
                <a:cs typeface="Calibri"/>
              </a:rPr>
              <a:t> </a:t>
            </a:r>
            <a:endParaRPr lang="en-US" sz="2400" dirty="0">
              <a:latin typeface="Times New Roman"/>
              <a:ea typeface="Times New Roman" panose="02020603050405020304" pitchFamily="18" charset="0"/>
              <a:cs typeface="Calibri"/>
            </a:endParaRPr>
          </a:p>
          <a:p>
            <a:pPr marL="525780" lvl="1" indent="-342900">
              <a:spcBef>
                <a:spcPts val="0"/>
              </a:spcBef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/>
                <a:ea typeface="Times New Roman" panose="02020603050405020304" pitchFamily="18" charset="0"/>
                <a:cs typeface="Calibri"/>
              </a:rPr>
              <a:t>Would like to be able to set the Configuration Specification when accessing a part structure via OSLC.</a:t>
            </a:r>
            <a:endParaRPr lang="en-US" sz="2400" dirty="0">
              <a:effectLst/>
              <a:latin typeface="Times New Roman"/>
              <a:ea typeface="Calibri" panose="020F0502020204030204" pitchFamily="34" charset="0"/>
              <a:cs typeface="Calibri"/>
            </a:endParaRPr>
          </a:p>
          <a:p>
            <a:pPr marL="932180" lvl="2">
              <a:spcBef>
                <a:spcPts val="0"/>
              </a:spcBef>
              <a:buFont typeface="Symbol" panose="05050102010706020507" pitchFamily="18" charset="2"/>
              <a:buChar char=""/>
            </a:pPr>
            <a:r>
              <a:rPr lang="en-US" sz="2200" dirty="0">
                <a:latin typeface="Calibri"/>
                <a:ea typeface="Times New Roman" panose="02020603050405020304" pitchFamily="18" charset="0"/>
                <a:cs typeface="Calibri"/>
              </a:rPr>
              <a:t>Similar to setting the Global Configuration when accessing DOORS resources</a:t>
            </a:r>
          </a:p>
          <a:p>
            <a:pPr marL="525780" lvl="1" indent="-342900">
              <a:spcBef>
                <a:spcPts val="0"/>
              </a:spcBef>
              <a:buFont typeface="Symbol" panose="05050102010706020507" pitchFamily="18" charset="2"/>
              <a:buChar char=""/>
            </a:pPr>
            <a:endParaRPr lang="en-US" sz="2400" dirty="0">
              <a:latin typeface="Times New Roman"/>
              <a:ea typeface="Calibri" panose="020F0502020204030204" pitchFamily="34" charset="0"/>
              <a:cs typeface="Calibri"/>
            </a:endParaRPr>
          </a:p>
          <a:p>
            <a:pPr marL="525780" lvl="1" indent="-342900">
              <a:spcBef>
                <a:spcPts val="0"/>
              </a:spcBef>
              <a:buFont typeface="Symbol" panose="05050102010706020507" pitchFamily="18" charset="2"/>
              <a:buChar char=""/>
            </a:pPr>
            <a:endParaRPr lang="en-US" sz="2400" dirty="0">
              <a:effectLst/>
              <a:latin typeface="Times New Roman"/>
              <a:ea typeface="Calibri" panose="020F0502020204030204" pitchFamily="34" charset="0"/>
              <a:cs typeface="Calibri"/>
            </a:endParaRP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37188F-397E-416E-85B4-1983162C28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ak Support for CM</a:t>
            </a:r>
          </a:p>
        </p:txBody>
      </p:sp>
    </p:spTree>
    <p:extLst>
      <p:ext uri="{BB962C8B-B14F-4D97-AF65-F5344CB8AC3E}">
        <p14:creationId xmlns:p14="http://schemas.microsoft.com/office/powerpoint/2010/main" val="4034989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7E216-3D4A-45C3-8CDF-94059BA07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757686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9925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8417BD5-77F6-4DEE-AD12-E0048B9219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Parts are the foundation</a:t>
            </a:r>
            <a:br>
              <a:rPr lang="en-US"/>
            </a:br>
            <a:r>
              <a:rPr lang="en-US"/>
              <a:t>for product definition in</a:t>
            </a:r>
            <a:br>
              <a:rPr lang="en-US"/>
            </a:br>
            <a:r>
              <a:rPr lang="en-US"/>
              <a:t>the Digital Thread</a:t>
            </a:r>
          </a:p>
          <a:p>
            <a:r>
              <a:rPr lang="en-US"/>
              <a:t>Enable associations to</a:t>
            </a:r>
          </a:p>
          <a:p>
            <a:pPr lvl="1"/>
            <a:r>
              <a:rPr lang="en-US"/>
              <a:t>CAD (MCAD/ECAD)</a:t>
            </a:r>
          </a:p>
          <a:p>
            <a:pPr lvl="1"/>
            <a:r>
              <a:rPr lang="en-US"/>
              <a:t>Documents</a:t>
            </a:r>
          </a:p>
          <a:p>
            <a:pPr lvl="1"/>
            <a:r>
              <a:rPr lang="en-US"/>
              <a:t>Visualization</a:t>
            </a:r>
          </a:p>
          <a:p>
            <a:pPr lvl="1"/>
            <a:r>
              <a:rPr lang="en-US"/>
              <a:t>Dynamic Documents</a:t>
            </a:r>
          </a:p>
          <a:p>
            <a:pPr lvl="1"/>
            <a:r>
              <a:rPr lang="en-US"/>
              <a:t>Change processes</a:t>
            </a:r>
          </a:p>
          <a:p>
            <a:pPr lvl="1"/>
            <a:r>
              <a:rPr lang="en-US"/>
              <a:t>Quality processes</a:t>
            </a:r>
          </a:p>
          <a:p>
            <a:pPr lvl="1"/>
            <a:r>
              <a:rPr lang="en-US"/>
              <a:t>Requirements &amp; System Models (OSLC)</a:t>
            </a:r>
          </a:p>
          <a:p>
            <a:pPr lvl="1"/>
            <a:r>
              <a:rPr lang="en-US"/>
              <a:t>Process Plans</a:t>
            </a:r>
          </a:p>
          <a:p>
            <a:pPr lvl="1"/>
            <a:r>
              <a:rPr lang="en-US"/>
              <a:t>And more…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B3F293-D6AD-4D4F-B66B-CFA7B24E7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M – HOLISTIC Product Definition</a:t>
            </a:r>
          </a:p>
        </p:txBody>
      </p:sp>
      <p:cxnSp>
        <p:nvCxnSpPr>
          <p:cNvPr id="4" name="AutoShape 5">
            <a:extLst>
              <a:ext uri="{FF2B5EF4-FFF2-40B4-BE49-F238E27FC236}">
                <a16:creationId xmlns:a16="http://schemas.microsoft.com/office/drawing/2014/main" id="{A375E1FC-48B3-4883-BCC3-EF7C43D5D47A}"/>
              </a:ext>
            </a:extLst>
          </p:cNvPr>
          <p:cNvCxnSpPr>
            <a:cxnSpLocks noChangeShapeType="1"/>
          </p:cNvCxnSpPr>
          <p:nvPr/>
        </p:nvCxnSpPr>
        <p:spPr bwMode="auto">
          <a:xfrm rot="16200000" flipH="1">
            <a:off x="5549604" y="2074862"/>
            <a:ext cx="609600" cy="879475"/>
          </a:xfrm>
          <a:prstGeom prst="bentConnector2">
            <a:avLst/>
          </a:prstGeom>
          <a:noFill/>
          <a:ln w="19050">
            <a:solidFill>
              <a:schemeClr val="tx1"/>
            </a:solidFill>
            <a:prstDash val="dash"/>
            <a:miter lim="800000"/>
            <a:headEnd type="triangle" w="lg" len="lg"/>
            <a:tailEnd/>
          </a:ln>
          <a:effectLst/>
        </p:spPr>
      </p:cxnSp>
      <p:cxnSp>
        <p:nvCxnSpPr>
          <p:cNvPr id="5" name="AutoShape 6">
            <a:extLst>
              <a:ext uri="{FF2B5EF4-FFF2-40B4-BE49-F238E27FC236}">
                <a16:creationId xmlns:a16="http://schemas.microsoft.com/office/drawing/2014/main" id="{A06EEF32-D4CA-4838-97F3-9C75ECD27D84}"/>
              </a:ext>
            </a:extLst>
          </p:cNvPr>
          <p:cNvCxnSpPr>
            <a:cxnSpLocks noChangeShapeType="1"/>
          </p:cNvCxnSpPr>
          <p:nvPr/>
        </p:nvCxnSpPr>
        <p:spPr bwMode="auto">
          <a:xfrm rot="16200000" flipH="1">
            <a:off x="6292554" y="3278187"/>
            <a:ext cx="1219200" cy="758825"/>
          </a:xfrm>
          <a:prstGeom prst="bentConnector2">
            <a:avLst/>
          </a:prstGeom>
          <a:noFill/>
          <a:ln w="19050">
            <a:solidFill>
              <a:schemeClr val="tx1"/>
            </a:solidFill>
            <a:prstDash val="dash"/>
            <a:miter lim="800000"/>
            <a:headEnd/>
            <a:tailEnd type="triangle" w="lg" len="lg"/>
          </a:ln>
          <a:effectLst/>
        </p:spPr>
      </p:cxnSp>
      <p:cxnSp>
        <p:nvCxnSpPr>
          <p:cNvPr id="6" name="AutoShape 7">
            <a:extLst>
              <a:ext uri="{FF2B5EF4-FFF2-40B4-BE49-F238E27FC236}">
                <a16:creationId xmlns:a16="http://schemas.microsoft.com/office/drawing/2014/main" id="{47656B1D-8AB3-49F2-A14F-E4F2ABD50931}"/>
              </a:ext>
            </a:extLst>
          </p:cNvPr>
          <p:cNvCxnSpPr>
            <a:cxnSpLocks noChangeShapeType="1"/>
          </p:cNvCxnSpPr>
          <p:nvPr/>
        </p:nvCxnSpPr>
        <p:spPr bwMode="auto">
          <a:xfrm rot="16200000" flipH="1">
            <a:off x="5873454" y="3697287"/>
            <a:ext cx="2057400" cy="758825"/>
          </a:xfrm>
          <a:prstGeom prst="bentConnector2">
            <a:avLst/>
          </a:prstGeom>
          <a:noFill/>
          <a:ln w="19050">
            <a:solidFill>
              <a:schemeClr val="tx1"/>
            </a:solidFill>
            <a:prstDash val="dash"/>
            <a:miter lim="800000"/>
            <a:headEnd/>
            <a:tailEnd type="triangle" w="lg" len="lg"/>
          </a:ln>
          <a:effectLst/>
        </p:spPr>
      </p:cxnSp>
      <p:sp>
        <p:nvSpPr>
          <p:cNvPr id="7" name="Text Box 8">
            <a:extLst>
              <a:ext uri="{FF2B5EF4-FFF2-40B4-BE49-F238E27FC236}">
                <a16:creationId xmlns:a16="http://schemas.microsoft.com/office/drawing/2014/main" id="{B7BF25FA-4629-4738-AB2B-13A7D31F0E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17778" y="2667000"/>
            <a:ext cx="950913" cy="336550"/>
          </a:xfrm>
          <a:prstGeom prst="rect">
            <a:avLst/>
          </a:prstGeom>
          <a:solidFill>
            <a:srgbClr val="FFFFFF"/>
          </a:solidFill>
          <a:ln w="19050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600" b="0"/>
              <a:t>Used By</a:t>
            </a:r>
          </a:p>
        </p:txBody>
      </p:sp>
      <p:sp>
        <p:nvSpPr>
          <p:cNvPr id="8" name="Text Box 9">
            <a:extLst>
              <a:ext uri="{FF2B5EF4-FFF2-40B4-BE49-F238E27FC236}">
                <a16:creationId xmlns:a16="http://schemas.microsoft.com/office/drawing/2014/main" id="{58E7D476-40E3-4491-8592-D7120DB02E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13178" y="3657600"/>
            <a:ext cx="646113" cy="336550"/>
          </a:xfrm>
          <a:prstGeom prst="rect">
            <a:avLst/>
          </a:prstGeom>
          <a:solidFill>
            <a:srgbClr val="FFFFFF"/>
          </a:solidFill>
          <a:ln w="19050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600" b="0"/>
              <a:t>Uses</a:t>
            </a:r>
          </a:p>
        </p:txBody>
      </p:sp>
      <p:pic>
        <p:nvPicPr>
          <p:cNvPr id="9" name="Picture 29">
            <a:extLst>
              <a:ext uri="{FF2B5EF4-FFF2-40B4-BE49-F238E27FC236}">
                <a16:creationId xmlns:a16="http://schemas.microsoft.com/office/drawing/2014/main" id="{B2FC453D-4D6D-46D4-A245-4084684EA6A2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94141" y="2590800"/>
            <a:ext cx="457200" cy="4572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</p:pic>
      <p:pic>
        <p:nvPicPr>
          <p:cNvPr id="10" name="Picture 32">
            <a:extLst>
              <a:ext uri="{FF2B5EF4-FFF2-40B4-BE49-F238E27FC236}">
                <a16:creationId xmlns:a16="http://schemas.microsoft.com/office/drawing/2014/main" id="{44933C25-E2E6-4244-B621-9016FD17B9E5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86066" y="1752600"/>
            <a:ext cx="457200" cy="4572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</p:pic>
      <p:grpSp>
        <p:nvGrpSpPr>
          <p:cNvPr id="11" name="Group 34">
            <a:extLst>
              <a:ext uri="{FF2B5EF4-FFF2-40B4-BE49-F238E27FC236}">
                <a16:creationId xmlns:a16="http://schemas.microsoft.com/office/drawing/2014/main" id="{350F3387-9C89-4C39-8DBC-847FDFF0C342}"/>
              </a:ext>
            </a:extLst>
          </p:cNvPr>
          <p:cNvGrpSpPr>
            <a:grpSpLocks/>
          </p:cNvGrpSpPr>
          <p:nvPr/>
        </p:nvGrpSpPr>
        <p:grpSpPr bwMode="auto">
          <a:xfrm>
            <a:off x="7281566" y="4038600"/>
            <a:ext cx="457200" cy="1295400"/>
            <a:chOff x="1609" y="3168"/>
            <a:chExt cx="288" cy="816"/>
          </a:xfrm>
        </p:grpSpPr>
        <p:pic>
          <p:nvPicPr>
            <p:cNvPr id="12" name="Picture 30">
              <a:extLst>
                <a:ext uri="{FF2B5EF4-FFF2-40B4-BE49-F238E27FC236}">
                  <a16:creationId xmlns:a16="http://schemas.microsoft.com/office/drawing/2014/main" id="{9FB43054-6EB1-4234-AEBC-03C7C6DABC36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609" y="3696"/>
              <a:ext cx="288" cy="28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</p:pic>
        <p:pic>
          <p:nvPicPr>
            <p:cNvPr id="13" name="Picture 31">
              <a:extLst>
                <a:ext uri="{FF2B5EF4-FFF2-40B4-BE49-F238E27FC236}">
                  <a16:creationId xmlns:a16="http://schemas.microsoft.com/office/drawing/2014/main" id="{4FB99290-2532-4B39-9063-445DC6A8FD6E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609" y="3168"/>
              <a:ext cx="288" cy="288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CA84A411-9425-44D1-B161-38D1E538E85A}"/>
              </a:ext>
            </a:extLst>
          </p:cNvPr>
          <p:cNvSpPr txBox="1"/>
          <p:nvPr/>
        </p:nvSpPr>
        <p:spPr>
          <a:xfrm>
            <a:off x="6365578" y="2311400"/>
            <a:ext cx="223715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b="1"/>
              <a:t>Part 123 </a:t>
            </a:r>
            <a:r>
              <a:rPr lang="en-US" sz="1600"/>
              <a:t>-  A.2 (In Work)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3419EB1-C132-4608-A87D-C04624F442D3}"/>
              </a:ext>
            </a:extLst>
          </p:cNvPr>
          <p:cNvGrpSpPr/>
          <p:nvPr/>
        </p:nvGrpSpPr>
        <p:grpSpPr>
          <a:xfrm>
            <a:off x="6751341" y="2819400"/>
            <a:ext cx="2123614" cy="2438400"/>
            <a:chOff x="2590800" y="3810000"/>
            <a:chExt cx="2123614" cy="2438400"/>
          </a:xfrm>
        </p:grpSpPr>
        <p:cxnSp>
          <p:nvCxnSpPr>
            <p:cNvPr id="38" name="AutoShape 14">
              <a:extLst>
                <a:ext uri="{FF2B5EF4-FFF2-40B4-BE49-F238E27FC236}">
                  <a16:creationId xmlns:a16="http://schemas.microsoft.com/office/drawing/2014/main" id="{8A9BDD79-A475-416E-BEAD-84C172ED5A82}"/>
                </a:ext>
              </a:extLst>
            </p:cNvPr>
            <p:cNvCxnSpPr>
              <a:cxnSpLocks noChangeShapeType="1"/>
              <a:stCxn id="9" idx="3"/>
              <a:endCxn id="17" idx="1"/>
            </p:cNvCxnSpPr>
            <p:nvPr/>
          </p:nvCxnSpPr>
          <p:spPr bwMode="auto">
            <a:xfrm>
              <a:off x="2590800" y="3810000"/>
              <a:ext cx="2123614" cy="1943896"/>
            </a:xfrm>
            <a:prstGeom prst="curved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  <p:cxnSp>
          <p:nvCxnSpPr>
            <p:cNvPr id="39" name="AutoShape 15">
              <a:extLst>
                <a:ext uri="{FF2B5EF4-FFF2-40B4-BE49-F238E27FC236}">
                  <a16:creationId xmlns:a16="http://schemas.microsoft.com/office/drawing/2014/main" id="{D03AC20E-A55F-499A-ACC5-60AD2619FEA1}"/>
                </a:ext>
              </a:extLst>
            </p:cNvPr>
            <p:cNvCxnSpPr>
              <a:cxnSpLocks noChangeShapeType="1"/>
              <a:stCxn id="9" idx="3"/>
              <a:endCxn id="23" idx="1"/>
            </p:cNvCxnSpPr>
            <p:nvPr/>
          </p:nvCxnSpPr>
          <p:spPr bwMode="auto">
            <a:xfrm>
              <a:off x="2590800" y="3810000"/>
              <a:ext cx="2123614" cy="419896"/>
            </a:xfrm>
            <a:prstGeom prst="curved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  <p:cxnSp>
          <p:nvCxnSpPr>
            <p:cNvPr id="40" name="AutoShape 24">
              <a:extLst>
                <a:ext uri="{FF2B5EF4-FFF2-40B4-BE49-F238E27FC236}">
                  <a16:creationId xmlns:a16="http://schemas.microsoft.com/office/drawing/2014/main" id="{D08B068B-2106-4F9B-AEA1-FAA2DCA279A7}"/>
                </a:ext>
              </a:extLst>
            </p:cNvPr>
            <p:cNvCxnSpPr>
              <a:cxnSpLocks noChangeShapeType="1"/>
              <a:stCxn id="9" idx="3"/>
              <a:endCxn id="24" idx="1"/>
            </p:cNvCxnSpPr>
            <p:nvPr/>
          </p:nvCxnSpPr>
          <p:spPr bwMode="auto">
            <a:xfrm>
              <a:off x="2590800" y="3810000"/>
              <a:ext cx="2123614" cy="1410496"/>
            </a:xfrm>
            <a:prstGeom prst="curved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  <p:cxnSp>
          <p:nvCxnSpPr>
            <p:cNvPr id="41" name="AutoShape 14">
              <a:extLst>
                <a:ext uri="{FF2B5EF4-FFF2-40B4-BE49-F238E27FC236}">
                  <a16:creationId xmlns:a16="http://schemas.microsoft.com/office/drawing/2014/main" id="{D2C6F671-5442-476F-B03C-60AD926E106F}"/>
                </a:ext>
              </a:extLst>
            </p:cNvPr>
            <p:cNvCxnSpPr>
              <a:cxnSpLocks noChangeShapeType="1"/>
              <a:stCxn id="9" idx="3"/>
              <a:endCxn id="32" idx="1"/>
            </p:cNvCxnSpPr>
            <p:nvPr/>
          </p:nvCxnSpPr>
          <p:spPr bwMode="auto">
            <a:xfrm>
              <a:off x="2590800" y="3810000"/>
              <a:ext cx="2112501" cy="2438400"/>
            </a:xfrm>
            <a:prstGeom prst="curvedConnector3">
              <a:avLst>
                <a:gd name="adj1" fmla="val 50000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52AFBADC-11AB-4662-951F-332014398E77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74955" y="4630739"/>
            <a:ext cx="265112" cy="2651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AC44959-F6DD-43DF-80EE-752009C6B604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875080" y="4629152"/>
            <a:ext cx="265112" cy="2651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E518760-6395-416F-A805-C6D29F7DB66E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370255" y="4630739"/>
            <a:ext cx="265112" cy="2651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CA43A336-9EB5-4132-8B55-2554AE5581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3990" y="2617789"/>
            <a:ext cx="3810000" cy="3952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dist="17961" dir="2700000" algn="ctr" rotWithShape="0">
              <a:srgbClr val="FFFFFF"/>
            </a:outerShdw>
          </a:effectLst>
        </p:spPr>
        <p:txBody>
          <a:bodyPr lIns="90478" tIns="44445" rIns="90478" bIns="44445"/>
          <a:lstStyle/>
          <a:p>
            <a:pPr algn="l">
              <a:spcBef>
                <a:spcPct val="30000"/>
              </a:spcBef>
              <a:buClr>
                <a:schemeClr val="hlink"/>
              </a:buClr>
              <a:buSzPct val="75000"/>
              <a:buFont typeface="Monotype Sorts" pitchFamily="2" charset="2"/>
              <a:buNone/>
            </a:pPr>
            <a:r>
              <a:rPr lang="en-US" sz="2200" i="1"/>
              <a:t>And can be associated to</a:t>
            </a:r>
          </a:p>
        </p:txBody>
      </p:sp>
      <p:sp>
        <p:nvSpPr>
          <p:cNvPr id="21" name="Text Box 20">
            <a:extLst>
              <a:ext uri="{FF2B5EF4-FFF2-40B4-BE49-F238E27FC236}">
                <a16:creationId xmlns:a16="http://schemas.microsoft.com/office/drawing/2014/main" id="{A32F36EC-BBB6-4091-AA31-FFF66D20FE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32155" y="3030539"/>
            <a:ext cx="2190750" cy="3968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000"/>
              <a:t>CAD Documents</a:t>
            </a:r>
          </a:p>
        </p:txBody>
      </p:sp>
      <p:sp>
        <p:nvSpPr>
          <p:cNvPr id="22" name="Text Box 21">
            <a:extLst>
              <a:ext uri="{FF2B5EF4-FFF2-40B4-BE49-F238E27FC236}">
                <a16:creationId xmlns:a16="http://schemas.microsoft.com/office/drawing/2014/main" id="{4339D886-4FB9-4038-8FB5-C47034762E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70367" y="4576764"/>
            <a:ext cx="1849437" cy="3968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000"/>
              <a:t>Change Item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3B89362B-BC60-44D1-9BAB-C3067A5C10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74955" y="3106739"/>
            <a:ext cx="265112" cy="2651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2CC368B-DB37-491D-988D-9A89868C45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874955" y="4097339"/>
            <a:ext cx="265112" cy="2651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</p:pic>
      <p:sp>
        <p:nvSpPr>
          <p:cNvPr id="25" name="Text Box 25">
            <a:extLst>
              <a:ext uri="{FF2B5EF4-FFF2-40B4-BE49-F238E27FC236}">
                <a16:creationId xmlns:a16="http://schemas.microsoft.com/office/drawing/2014/main" id="{AFCD949B-E75A-4597-BFFE-3817021A5C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32155" y="4008089"/>
            <a:ext cx="1561325" cy="40075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000"/>
              <a:t>Documents</a:t>
            </a:r>
          </a:p>
        </p:txBody>
      </p:sp>
      <p:cxnSp>
        <p:nvCxnSpPr>
          <p:cNvPr id="26" name="AutoShape 27">
            <a:extLst>
              <a:ext uri="{FF2B5EF4-FFF2-40B4-BE49-F238E27FC236}">
                <a16:creationId xmlns:a16="http://schemas.microsoft.com/office/drawing/2014/main" id="{4FDE72D9-2F6F-41FC-A348-812AD84C7D05}"/>
              </a:ext>
            </a:extLst>
          </p:cNvPr>
          <p:cNvCxnSpPr>
            <a:cxnSpLocks noChangeShapeType="1"/>
            <a:stCxn id="9" idx="3"/>
            <a:endCxn id="31" idx="1"/>
          </p:cNvCxnSpPr>
          <p:nvPr/>
        </p:nvCxnSpPr>
        <p:spPr bwMode="auto">
          <a:xfrm>
            <a:off x="6751341" y="2819400"/>
            <a:ext cx="2166620" cy="854024"/>
          </a:xfrm>
          <a:prstGeom prst="curved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27" name="Text Box 28">
            <a:extLst>
              <a:ext uri="{FF2B5EF4-FFF2-40B4-BE49-F238E27FC236}">
                <a16:creationId xmlns:a16="http://schemas.microsoft.com/office/drawing/2014/main" id="{A368B132-949F-4616-B9A9-D2043F0C8C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32155" y="3486152"/>
            <a:ext cx="2552700" cy="4000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000"/>
              <a:t>Dynamic Documents</a:t>
            </a:r>
          </a:p>
        </p:txBody>
      </p:sp>
      <p:sp>
        <p:nvSpPr>
          <p:cNvPr id="28" name="Text Box 21">
            <a:extLst>
              <a:ext uri="{FF2B5EF4-FFF2-40B4-BE49-F238E27FC236}">
                <a16:creationId xmlns:a16="http://schemas.microsoft.com/office/drawing/2014/main" id="{A82DEA72-8ED1-49DF-8F86-A25D1F2574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32155" y="5082826"/>
            <a:ext cx="2734723" cy="40075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000"/>
              <a:t>Requirements (OSLC)</a:t>
            </a:r>
          </a:p>
        </p:txBody>
      </p:sp>
      <p:sp>
        <p:nvSpPr>
          <p:cNvPr id="29" name="Text Box 21">
            <a:extLst>
              <a:ext uri="{FF2B5EF4-FFF2-40B4-BE49-F238E27FC236}">
                <a16:creationId xmlns:a16="http://schemas.microsoft.com/office/drawing/2014/main" id="{05B7830D-03ED-43FD-B695-E3AD60DA34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32155" y="5578477"/>
            <a:ext cx="1825625" cy="4000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000"/>
              <a:t>Process Plans</a:t>
            </a:r>
          </a:p>
        </p:txBody>
      </p:sp>
      <p:pic>
        <p:nvPicPr>
          <p:cNvPr id="31" name="Picture 2">
            <a:extLst>
              <a:ext uri="{FF2B5EF4-FFF2-40B4-BE49-F238E27FC236}">
                <a16:creationId xmlns:a16="http://schemas.microsoft.com/office/drawing/2014/main" id="{A5D7E5DC-F702-42FD-B044-61D96C1EAB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917961" y="3497263"/>
            <a:ext cx="321685" cy="35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3">
            <a:extLst>
              <a:ext uri="{FF2B5EF4-FFF2-40B4-BE49-F238E27FC236}">
                <a16:creationId xmlns:a16="http://schemas.microsoft.com/office/drawing/2014/main" id="{8380AD47-5C49-4E54-A3B1-77D3EE8658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863842" y="5124450"/>
            <a:ext cx="34290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" name="Picture 5">
            <a:extLst>
              <a:ext uri="{FF2B5EF4-FFF2-40B4-BE49-F238E27FC236}">
                <a16:creationId xmlns:a16="http://schemas.microsoft.com/office/drawing/2014/main" id="{C06E551A-62FC-4DCF-8B6A-6E2F26789D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63842" y="5597525"/>
            <a:ext cx="342900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5" name="AutoShape 14">
            <a:extLst>
              <a:ext uri="{FF2B5EF4-FFF2-40B4-BE49-F238E27FC236}">
                <a16:creationId xmlns:a16="http://schemas.microsoft.com/office/drawing/2014/main" id="{6DA5648A-41CC-4020-85BF-7911A47A1F23}"/>
              </a:ext>
            </a:extLst>
          </p:cNvPr>
          <p:cNvCxnSpPr>
            <a:cxnSpLocks noChangeShapeType="1"/>
            <a:stCxn id="9" idx="3"/>
            <a:endCxn id="33" idx="1"/>
          </p:cNvCxnSpPr>
          <p:nvPr/>
        </p:nvCxnSpPr>
        <p:spPr bwMode="auto">
          <a:xfrm>
            <a:off x="6751341" y="2819400"/>
            <a:ext cx="2112501" cy="2921000"/>
          </a:xfrm>
          <a:prstGeom prst="curved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37" name="Text Box 33">
            <a:extLst>
              <a:ext uri="{FF2B5EF4-FFF2-40B4-BE49-F238E27FC236}">
                <a16:creationId xmlns:a16="http://schemas.microsoft.com/office/drawing/2014/main" id="{62ECC295-96FA-4C10-9AC5-1F0ECFBD73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51341" y="2951164"/>
            <a:ext cx="1120775" cy="339725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none" lIns="92075" tIns="46038" rIns="92075" bIns="46038" anchor="ctr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600" b="0"/>
              <a:t>Related to</a:t>
            </a:r>
          </a:p>
        </p:txBody>
      </p:sp>
    </p:spTree>
    <p:extLst>
      <p:ext uri="{BB962C8B-B14F-4D97-AF65-F5344CB8AC3E}">
        <p14:creationId xmlns:p14="http://schemas.microsoft.com/office/powerpoint/2010/main" val="3578692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8DE27C5-C919-4173-A78A-415E5897FF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709928"/>
            <a:ext cx="5943856" cy="4572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Windchill Modeler items do not have a number or ID that is exposed to users</a:t>
            </a:r>
          </a:p>
          <a:p>
            <a:r>
              <a:rPr lang="en-US"/>
              <a:t>They are identified by the</a:t>
            </a:r>
          </a:p>
          <a:p>
            <a:pPr lvl="1">
              <a:buClr>
                <a:srgbClr val="3D4647"/>
              </a:buClr>
            </a:pPr>
            <a:r>
              <a:rPr lang="en-US">
                <a:ea typeface="+mn-lt"/>
                <a:cs typeface="+mn-lt"/>
              </a:rPr>
              <a:t>Type</a:t>
            </a:r>
          </a:p>
          <a:p>
            <a:pPr lvl="1">
              <a:buClr>
                <a:srgbClr val="3D4647"/>
              </a:buClr>
            </a:pPr>
            <a:r>
              <a:rPr lang="en-US"/>
              <a:t>Name</a:t>
            </a:r>
          </a:p>
          <a:p>
            <a:pPr lvl="1">
              <a:buClr>
                <a:srgbClr val="3D4647"/>
              </a:buClr>
            </a:pPr>
            <a:r>
              <a:rPr lang="en-US"/>
              <a:t>Scope (Package location)</a:t>
            </a:r>
          </a:p>
          <a:p>
            <a:pPr lvl="1">
              <a:buClr>
                <a:srgbClr val="3D4647"/>
              </a:buClr>
            </a:pPr>
            <a:r>
              <a:rPr lang="en-US"/>
              <a:t>Full name (Scope.Name)</a:t>
            </a:r>
          </a:p>
          <a:p>
            <a:pPr>
              <a:buClr>
                <a:srgbClr val="3D4647"/>
              </a:buClr>
            </a:pPr>
            <a:r>
              <a:rPr lang="en-US">
                <a:ea typeface="+mn-lt"/>
                <a:cs typeface="+mn-lt"/>
              </a:rPr>
              <a:t>All model items (including packages and diagrams) have an internal ID called a GUID</a:t>
            </a:r>
            <a:endParaRPr lang="en-US"/>
          </a:p>
          <a:p>
            <a:pPr lvl="1">
              <a:buClr>
                <a:srgbClr val="3D4647"/>
              </a:buClr>
            </a:pPr>
            <a:r>
              <a:rPr lang="en-US">
                <a:ea typeface="+mn-lt"/>
                <a:cs typeface="+mn-lt"/>
              </a:rPr>
              <a:t>This is not directly visible to users </a:t>
            </a:r>
            <a:endParaRPr lang="en-US"/>
          </a:p>
          <a:p>
            <a:pPr lvl="1">
              <a:buClr>
                <a:srgbClr val="3D4647"/>
              </a:buClr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FAEFCD0-CB9A-4585-A2C2-E27528FA1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fig mgmt. - Modeler</a:t>
            </a:r>
          </a:p>
        </p:txBody>
      </p:sp>
      <p:pic>
        <p:nvPicPr>
          <p:cNvPr id="5" name="Picture 5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3D0E40CB-F2F9-802B-D5C6-D85EFC332B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5541" y="1476055"/>
            <a:ext cx="3687694" cy="2055317"/>
          </a:xfrm>
          <a:prstGeom prst="rect">
            <a:avLst/>
          </a:prstGeom>
        </p:spPr>
      </p:pic>
      <p:pic>
        <p:nvPicPr>
          <p:cNvPr id="10" name="Picture 10">
            <a:extLst>
              <a:ext uri="{FF2B5EF4-FFF2-40B4-BE49-F238E27FC236}">
                <a16:creationId xmlns:a16="http://schemas.microsoft.com/office/drawing/2014/main" id="{80AF2378-052F-A26E-F40E-A0E5C53126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0657" y="4726032"/>
            <a:ext cx="5105400" cy="279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53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8DE27C5-C919-4173-A78A-415E5897FF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709928"/>
            <a:ext cx="6161570" cy="4572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Windchill Modeler manages versions at the </a:t>
            </a:r>
            <a:r>
              <a:rPr lang="en-US" b="1"/>
              <a:t>model </a:t>
            </a:r>
            <a:r>
              <a:rPr lang="en-US"/>
              <a:t>level</a:t>
            </a:r>
          </a:p>
          <a:p>
            <a:pPr lvl="1"/>
            <a:r>
              <a:rPr lang="en-US"/>
              <a:t>Individual items have versions, but are not exposed to users</a:t>
            </a:r>
          </a:p>
          <a:p>
            <a:r>
              <a:rPr lang="en-US"/>
              <a:t>The latest model version (also called the tip) is writable</a:t>
            </a:r>
          </a:p>
          <a:p>
            <a:r>
              <a:rPr lang="en-US"/>
              <a:t>Old versions are locked, and act as baselin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FAEFCD0-CB9A-4585-A2C2-E27528FA1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fig mgmt. - Modeler</a:t>
            </a:r>
          </a:p>
        </p:txBody>
      </p:sp>
      <p:pic>
        <p:nvPicPr>
          <p:cNvPr id="4" name="Picture 4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792A604F-6CCD-F108-C170-69CB564B70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99748" y="2170219"/>
            <a:ext cx="1864178" cy="1824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65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8DE27C5-C919-4173-A78A-415E5897FF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709928"/>
            <a:ext cx="5464885" cy="4572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Windchill Modeler provides the ability to branch a model – called a </a:t>
            </a:r>
            <a:r>
              <a:rPr lang="en-US" b="1"/>
              <a:t>private sandbox</a:t>
            </a:r>
          </a:p>
          <a:p>
            <a:r>
              <a:rPr lang="en-US"/>
              <a:t>Model items can be changed in isolation, then reconciled (merged) to the main model (trunk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FAEFCD0-CB9A-4585-A2C2-E27528FA1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fig mgmt. - Modeler</a:t>
            </a: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4BCB10FC-0876-3065-4433-F5539972AC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6086" y="1551534"/>
            <a:ext cx="3886199" cy="3308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53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8DE27C5-C919-4173-A78A-415E5897FF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709928"/>
            <a:ext cx="5998285" cy="4572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Windchill Modeler </a:t>
            </a:r>
            <a:r>
              <a:rPr lang="en-US" b="1"/>
              <a:t>OSLC Server</a:t>
            </a:r>
          </a:p>
          <a:p>
            <a:pPr lvl="1"/>
            <a:r>
              <a:rPr lang="en-US"/>
              <a:t>Exposes all model versions</a:t>
            </a:r>
          </a:p>
          <a:p>
            <a:pPr marL="932180" lvl="2">
              <a:buClr>
                <a:srgbClr val="3D4647"/>
              </a:buClr>
            </a:pPr>
            <a:r>
              <a:rPr lang="en-US"/>
              <a:t>Use to create static, version specific OSLC Links</a:t>
            </a:r>
          </a:p>
          <a:p>
            <a:pPr lvl="1">
              <a:buClr>
                <a:srgbClr val="3D4647"/>
              </a:buClr>
            </a:pPr>
            <a:r>
              <a:rPr lang="en-US"/>
              <a:t>Exposes current version (latest)</a:t>
            </a:r>
          </a:p>
          <a:p>
            <a:pPr marL="932180" lvl="2">
              <a:buClr>
                <a:srgbClr val="3D4647"/>
              </a:buClr>
            </a:pPr>
            <a:r>
              <a:rPr lang="en-US"/>
              <a:t>Link to these items for an OSLC Link that always point to the latest</a:t>
            </a:r>
          </a:p>
          <a:p>
            <a:r>
              <a:rPr lang="en-US"/>
              <a:t>Windchill Modeler </a:t>
            </a:r>
            <a:r>
              <a:rPr lang="en-US" b="1"/>
              <a:t>OSLC client</a:t>
            </a:r>
          </a:p>
          <a:p>
            <a:pPr lvl="1"/>
            <a:r>
              <a:rPr lang="en-US"/>
              <a:t>Allows the creation of OSLC Links and OSLC Surrogates</a:t>
            </a:r>
          </a:p>
          <a:p>
            <a:pPr lvl="1"/>
            <a:r>
              <a:rPr lang="en-US"/>
              <a:t>Several link types can be used</a:t>
            </a:r>
          </a:p>
          <a:p>
            <a:pPr lvl="1"/>
            <a:r>
              <a:rPr lang="en-US"/>
              <a:t>Link direction can be specified (incoming, outgoing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FAEFCD0-CB9A-4585-A2C2-E27528FA1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fig mgmt. - Modeler</a:t>
            </a:r>
          </a:p>
        </p:txBody>
      </p:sp>
      <p:pic>
        <p:nvPicPr>
          <p:cNvPr id="4" name="Picture 5" descr="Text&#10;&#10;Description automatically generated">
            <a:extLst>
              <a:ext uri="{FF2B5EF4-FFF2-40B4-BE49-F238E27FC236}">
                <a16:creationId xmlns:a16="http://schemas.microsoft.com/office/drawing/2014/main" id="{D40A21F2-5F21-36C2-78F5-E8AB9E5FB0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21286" y="2074942"/>
            <a:ext cx="3810000" cy="2250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248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435" name="Rectangle 11"/>
          <p:cNvSpPr>
            <a:spLocks noChangeArrowheads="1"/>
          </p:cNvSpPr>
          <p:nvPr/>
        </p:nvSpPr>
        <p:spPr bwMode="auto">
          <a:xfrm>
            <a:off x="6576849" y="5915786"/>
            <a:ext cx="411544" cy="411652"/>
          </a:xfrm>
          <a:prstGeom prst="rect">
            <a:avLst/>
          </a:prstGeom>
          <a:solidFill>
            <a:srgbClr val="FFFFFF"/>
          </a:solidFill>
          <a:ln w="19050">
            <a:solidFill>
              <a:srgbClr val="00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23</a:t>
            </a:r>
          </a:p>
          <a:p>
            <a:r>
              <a:rPr lang="en-US" sz="1100" b="1"/>
              <a:t>B.2</a:t>
            </a:r>
          </a:p>
        </p:txBody>
      </p:sp>
      <p:sp>
        <p:nvSpPr>
          <p:cNvPr id="999434" name="Rectangle 10"/>
          <p:cNvSpPr>
            <a:spLocks noChangeArrowheads="1"/>
          </p:cNvSpPr>
          <p:nvPr/>
        </p:nvSpPr>
        <p:spPr bwMode="auto">
          <a:xfrm>
            <a:off x="5147876" y="5872906"/>
            <a:ext cx="411544" cy="411652"/>
          </a:xfrm>
          <a:prstGeom prst="rect">
            <a:avLst/>
          </a:prstGeom>
          <a:solidFill>
            <a:srgbClr val="FFFFFF"/>
          </a:solidFill>
          <a:ln w="19050">
            <a:solidFill>
              <a:srgbClr val="00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23</a:t>
            </a:r>
          </a:p>
          <a:p>
            <a:r>
              <a:rPr lang="en-US" sz="1100" b="1"/>
              <a:t>A</a:t>
            </a:r>
          </a:p>
        </p:txBody>
      </p:sp>
      <p:sp>
        <p:nvSpPr>
          <p:cNvPr id="999433" name="Rectangle 9"/>
          <p:cNvSpPr>
            <a:spLocks noChangeArrowheads="1"/>
          </p:cNvSpPr>
          <p:nvPr/>
        </p:nvSpPr>
        <p:spPr bwMode="auto">
          <a:xfrm>
            <a:off x="5273626" y="6044427"/>
            <a:ext cx="411544" cy="411652"/>
          </a:xfrm>
          <a:prstGeom prst="rect">
            <a:avLst/>
          </a:prstGeom>
          <a:solidFill>
            <a:srgbClr val="FFFFFF"/>
          </a:solidFill>
          <a:ln w="19050">
            <a:solidFill>
              <a:srgbClr val="00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23</a:t>
            </a:r>
          </a:p>
          <a:p>
            <a:r>
              <a:rPr lang="en-US" sz="1100" b="1"/>
              <a:t>A</a:t>
            </a:r>
          </a:p>
        </p:txBody>
      </p:sp>
      <p:sp>
        <p:nvSpPr>
          <p:cNvPr id="999427" name="Rectangle 3"/>
          <p:cNvSpPr>
            <a:spLocks noGrp="1" noChangeArrowheads="1"/>
          </p:cNvSpPr>
          <p:nvPr>
            <p:ph idx="1"/>
          </p:nvPr>
        </p:nvSpPr>
        <p:spPr>
          <a:xfrm>
            <a:off x="490760" y="1473910"/>
            <a:ext cx="10789920" cy="4808017"/>
          </a:xfrm>
        </p:spPr>
        <p:txBody>
          <a:bodyPr/>
          <a:lstStyle/>
          <a:p>
            <a:pPr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" pitchFamily="2" charset="2"/>
              <a:buChar char="l"/>
            </a:pPr>
            <a:r>
              <a:rPr lang="en-US" dirty="0"/>
              <a:t>What is a Part Master?</a:t>
            </a:r>
          </a:p>
          <a:p>
            <a:pPr lvl="1">
              <a:lnSpc>
                <a:spcPct val="125000"/>
              </a:lnSpc>
              <a:spcBef>
                <a:spcPts val="1200"/>
              </a:spcBef>
              <a:spcAft>
                <a:spcPts val="1200"/>
              </a:spcAft>
              <a:buClrTx/>
              <a:buSzPct val="75000"/>
              <a:buFont typeface="Wingdings" pitchFamily="2" charset="2"/>
              <a:buChar char="l"/>
            </a:pPr>
            <a:r>
              <a:rPr lang="en-US" dirty="0"/>
              <a:t>A database object that records</a:t>
            </a:r>
            <a:r>
              <a:rPr lang="en-US" altLang="en-US" dirty="0"/>
              <a:t> information about Parts that does </a:t>
            </a:r>
            <a:r>
              <a:rPr lang="en-US" altLang="en-US" b="1" dirty="0"/>
              <a:t>NOT </a:t>
            </a:r>
            <a:r>
              <a:rPr lang="en-US" altLang="en-US" dirty="0"/>
              <a:t>change with the creation of new revisions</a:t>
            </a:r>
            <a:endParaRPr lang="en-US" dirty="0"/>
          </a:p>
          <a:p>
            <a:pPr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" pitchFamily="2" charset="2"/>
              <a:buChar char="l"/>
            </a:pPr>
            <a:r>
              <a:rPr lang="en-US" dirty="0"/>
              <a:t>What is a Part Version?	</a:t>
            </a:r>
          </a:p>
          <a:p>
            <a:pPr lvl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" pitchFamily="2" charset="2"/>
              <a:buChar char="l"/>
            </a:pPr>
            <a:r>
              <a:rPr lang="en-US" dirty="0"/>
              <a:t>A database object that records information unique to a specific point in a Part’s design life cycle</a:t>
            </a:r>
          </a:p>
          <a:p>
            <a:pPr lvl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" pitchFamily="2" charset="2"/>
              <a:buChar char="l"/>
            </a:pPr>
            <a:r>
              <a:rPr lang="en-US" dirty="0"/>
              <a:t>Caries a version designator such as “A” or “1”</a:t>
            </a:r>
          </a:p>
          <a:p>
            <a:pPr lvl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Wingdings" pitchFamily="2" charset="2"/>
              <a:buChar char="l"/>
            </a:pPr>
            <a:r>
              <a:rPr lang="en-US" dirty="0"/>
              <a:t>References Windchill Documents which are unique to that version such as:</a:t>
            </a:r>
          </a:p>
          <a:p>
            <a:pPr lvl="2">
              <a:lnSpc>
                <a:spcPct val="125000"/>
              </a:lnSpc>
              <a:spcBef>
                <a:spcPct val="0"/>
              </a:spcBef>
              <a:buClrTx/>
              <a:buSzPct val="75000"/>
              <a:buFont typeface="Wingdings" pitchFamily="2" charset="2"/>
              <a:buChar char="l"/>
            </a:pPr>
            <a:r>
              <a:rPr lang="en-US" dirty="0"/>
              <a:t>Specifications</a:t>
            </a:r>
          </a:p>
          <a:p>
            <a:pPr lvl="2">
              <a:lnSpc>
                <a:spcPct val="125000"/>
              </a:lnSpc>
              <a:spcBef>
                <a:spcPct val="0"/>
              </a:spcBef>
              <a:buClrTx/>
              <a:buSzPct val="75000"/>
              <a:buFont typeface="Wingdings" pitchFamily="2" charset="2"/>
              <a:buChar char="l"/>
            </a:pPr>
            <a:r>
              <a:rPr lang="en-US" dirty="0"/>
              <a:t>CAD models</a:t>
            </a:r>
          </a:p>
        </p:txBody>
      </p:sp>
      <p:sp>
        <p:nvSpPr>
          <p:cNvPr id="9994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figuration Management – PLM Concepts</a:t>
            </a:r>
            <a:endParaRPr lang="en-US" sz="1800"/>
          </a:p>
        </p:txBody>
      </p:sp>
      <p:sp>
        <p:nvSpPr>
          <p:cNvPr id="999428" name="Rectangle 4"/>
          <p:cNvSpPr>
            <a:spLocks noChangeArrowheads="1"/>
          </p:cNvSpPr>
          <p:nvPr/>
        </p:nvSpPr>
        <p:spPr bwMode="auto">
          <a:xfrm>
            <a:off x="4958288" y="1514488"/>
            <a:ext cx="1295865" cy="411652"/>
          </a:xfrm>
          <a:prstGeom prst="rect">
            <a:avLst/>
          </a:prstGeom>
          <a:noFill/>
          <a:ln w="19050">
            <a:solidFill>
              <a:srgbClr val="00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23 – Part Name</a:t>
            </a:r>
          </a:p>
          <a:p>
            <a:r>
              <a:rPr lang="en-US" sz="1100" b="1">
                <a:solidFill>
                  <a:schemeClr val="bg1">
                    <a:lumMod val="85000"/>
                  </a:schemeClr>
                </a:solidFill>
              </a:rPr>
              <a:t>A.3</a:t>
            </a:r>
          </a:p>
        </p:txBody>
      </p:sp>
      <p:sp>
        <p:nvSpPr>
          <p:cNvPr id="999429" name="Rectangle 5"/>
          <p:cNvSpPr>
            <a:spLocks noChangeArrowheads="1"/>
          </p:cNvSpPr>
          <p:nvPr/>
        </p:nvSpPr>
        <p:spPr bwMode="auto">
          <a:xfrm>
            <a:off x="2478555" y="2162056"/>
            <a:ext cx="4668456" cy="42594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dist="17961" dir="2700000" algn="ctr" rotWithShape="0">
              <a:srgbClr val="FFFFFF"/>
            </a:outerShdw>
          </a:effectLst>
        </p:spPr>
        <p:txBody>
          <a:bodyPr lIns="91435" tIns="45718" rIns="91435" bIns="45718"/>
          <a:lstStyle/>
          <a:p>
            <a:pPr algn="l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SzPct val="75000"/>
              <a:buFont typeface="Monotype Sorts" pitchFamily="2" charset="2"/>
              <a:buNone/>
            </a:pPr>
            <a:endParaRPr lang="en-US" sz="200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99430" name="AutoShape 6"/>
          <p:cNvSpPr>
            <a:spLocks noChangeArrowheads="1"/>
          </p:cNvSpPr>
          <p:nvPr/>
        </p:nvSpPr>
        <p:spPr bwMode="auto">
          <a:xfrm>
            <a:off x="5823781" y="5058179"/>
            <a:ext cx="548726" cy="411652"/>
          </a:xfrm>
          <a:prstGeom prst="flowChartDecision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 dirty="0"/>
              <a:t>123</a:t>
            </a:r>
          </a:p>
        </p:txBody>
      </p:sp>
      <p:sp>
        <p:nvSpPr>
          <p:cNvPr id="999431" name="Rectangle 7"/>
          <p:cNvSpPr>
            <a:spLocks noChangeArrowheads="1"/>
          </p:cNvSpPr>
          <p:nvPr/>
        </p:nvSpPr>
        <p:spPr bwMode="auto">
          <a:xfrm>
            <a:off x="5445103" y="6227383"/>
            <a:ext cx="411544" cy="411652"/>
          </a:xfrm>
          <a:prstGeom prst="rect">
            <a:avLst/>
          </a:prstGeom>
          <a:solidFill>
            <a:srgbClr val="FFFFFF"/>
          </a:solidFill>
          <a:ln w="19050">
            <a:solidFill>
              <a:srgbClr val="00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23</a:t>
            </a:r>
          </a:p>
          <a:p>
            <a:r>
              <a:rPr lang="en-US" sz="1100" b="1"/>
              <a:t>A.3</a:t>
            </a:r>
          </a:p>
        </p:txBody>
      </p:sp>
      <p:sp>
        <p:nvSpPr>
          <p:cNvPr id="999432" name="Rectangle 8"/>
          <p:cNvSpPr>
            <a:spLocks noChangeArrowheads="1"/>
          </p:cNvSpPr>
          <p:nvPr/>
        </p:nvSpPr>
        <p:spPr bwMode="auto">
          <a:xfrm>
            <a:off x="6725463" y="6087307"/>
            <a:ext cx="411544" cy="411652"/>
          </a:xfrm>
          <a:prstGeom prst="rect">
            <a:avLst/>
          </a:prstGeom>
          <a:solidFill>
            <a:srgbClr val="FFFFFF"/>
          </a:solidFill>
          <a:ln w="19050">
            <a:solidFill>
              <a:srgbClr val="00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23</a:t>
            </a:r>
          </a:p>
          <a:p>
            <a:r>
              <a:rPr lang="en-US" sz="1100" b="1"/>
              <a:t>B.2</a:t>
            </a:r>
          </a:p>
        </p:txBody>
      </p:sp>
      <p:cxnSp>
        <p:nvCxnSpPr>
          <p:cNvPr id="999436" name="AutoShape 12"/>
          <p:cNvCxnSpPr>
            <a:cxnSpLocks noChangeShapeType="1"/>
            <a:stCxn id="999430" idx="2"/>
            <a:endCxn id="999434" idx="0"/>
          </p:cNvCxnSpPr>
          <p:nvPr/>
        </p:nvCxnSpPr>
        <p:spPr bwMode="auto">
          <a:xfrm flipH="1">
            <a:off x="5353649" y="5478408"/>
            <a:ext cx="744495" cy="385923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999437" name="AutoShape 13"/>
          <p:cNvCxnSpPr>
            <a:cxnSpLocks noChangeShapeType="1"/>
            <a:stCxn id="999430" idx="2"/>
            <a:endCxn id="999435" idx="0"/>
          </p:cNvCxnSpPr>
          <p:nvPr/>
        </p:nvCxnSpPr>
        <p:spPr bwMode="auto">
          <a:xfrm>
            <a:off x="6098144" y="5478406"/>
            <a:ext cx="684478" cy="428804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999438" name="Rectangle 14"/>
          <p:cNvSpPr>
            <a:spLocks noChangeArrowheads="1"/>
          </p:cNvSpPr>
          <p:nvPr/>
        </p:nvSpPr>
        <p:spPr bwMode="auto">
          <a:xfrm>
            <a:off x="6549700" y="5115353"/>
            <a:ext cx="1707877" cy="422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82886" tIns="41443" rIns="82886" bIns="41443">
            <a:spAutoFit/>
          </a:bodyPr>
          <a:lstStyle/>
          <a:p>
            <a:r>
              <a:rPr lang="en-US" b="1" i="1">
                <a:solidFill>
                  <a:schemeClr val="accent2">
                    <a:lumMod val="75000"/>
                  </a:schemeClr>
                </a:solidFill>
              </a:rPr>
              <a:t>Part Master</a:t>
            </a:r>
          </a:p>
        </p:txBody>
      </p:sp>
      <p:sp>
        <p:nvSpPr>
          <p:cNvPr id="999439" name="Rectangle 15"/>
          <p:cNvSpPr>
            <a:spLocks noChangeArrowheads="1"/>
          </p:cNvSpPr>
          <p:nvPr/>
        </p:nvSpPr>
        <p:spPr bwMode="auto">
          <a:xfrm>
            <a:off x="7167016" y="5984395"/>
            <a:ext cx="1909856" cy="422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82886" tIns="41443" rIns="82886" bIns="41443">
            <a:spAutoFit/>
          </a:bodyPr>
          <a:lstStyle/>
          <a:p>
            <a:r>
              <a:rPr lang="en-US" b="1" i="1">
                <a:solidFill>
                  <a:schemeClr val="accent2">
                    <a:lumMod val="75000"/>
                  </a:schemeClr>
                </a:solidFill>
              </a:rPr>
              <a:t>Part Versions</a:t>
            </a:r>
          </a:p>
        </p:txBody>
      </p:sp>
      <p:sp>
        <p:nvSpPr>
          <p:cNvPr id="16" name="Rectangle 3"/>
          <p:cNvSpPr txBox="1">
            <a:spLocks noChangeArrowheads="1"/>
          </p:cNvSpPr>
          <p:nvPr/>
        </p:nvSpPr>
        <p:spPr>
          <a:xfrm>
            <a:off x="2638599" y="1628845"/>
            <a:ext cx="7567842" cy="34432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684213" lvl="1" indent="-228600" defTabSz="91440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SzPct val="75000"/>
              <a:buFont typeface="Wingdings" pitchFamily="2" charset="2"/>
              <a:buChar char="l"/>
              <a:defRPr/>
            </a:pPr>
            <a:endParaRPr lang="en-US" sz="1600">
              <a:latin typeface="Arial Narrow" pitchFamily="34" charset="0"/>
            </a:endParaRP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2478555" y="1171456"/>
            <a:ext cx="4668456" cy="42594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dist="17961" dir="2700000" algn="ctr" rotWithShape="0">
              <a:srgbClr val="FFFFFF"/>
            </a:outerShdw>
          </a:effectLst>
        </p:spPr>
        <p:txBody>
          <a:bodyPr lIns="91435" tIns="45718" rIns="91435" bIns="45718"/>
          <a:lstStyle/>
          <a:p>
            <a:pPr algn="l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SzPct val="75000"/>
              <a:buFont typeface="Monotype Sorts" pitchFamily="2" charset="2"/>
              <a:buNone/>
            </a:pPr>
            <a:endParaRPr lang="en-US" sz="200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4911487" y="2856201"/>
            <a:ext cx="1295865" cy="411652"/>
          </a:xfrm>
          <a:prstGeom prst="rect">
            <a:avLst/>
          </a:prstGeom>
          <a:noFill/>
          <a:ln w="19050">
            <a:solidFill>
              <a:srgbClr val="00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 dirty="0">
                <a:solidFill>
                  <a:schemeClr val="bg1">
                    <a:lumMod val="85000"/>
                  </a:schemeClr>
                </a:solidFill>
              </a:rPr>
              <a:t>123 – Part Name</a:t>
            </a:r>
          </a:p>
          <a:p>
            <a:r>
              <a:rPr lang="en-US" sz="1100" b="1" dirty="0"/>
              <a:t>A.3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94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94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94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94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94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94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94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94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942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94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94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94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94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9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94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94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94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9435" grpId="0" animBg="1"/>
      <p:bldP spid="999434" grpId="0" animBg="1"/>
      <p:bldP spid="999433" grpId="0" animBg="1"/>
      <p:bldP spid="999427" grpId="0" uiExpand="1" build="p"/>
      <p:bldP spid="999429" grpId="0"/>
      <p:bldP spid="999431" grpId="0" animBg="1"/>
      <p:bldP spid="999432" grpId="0" animBg="1"/>
      <p:bldP spid="999439" grpId="0"/>
      <p:bldP spid="1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6931" name="Rectangle 1027"/>
          <p:cNvSpPr>
            <a:spLocks noGrp="1" noChangeArrowheads="1"/>
          </p:cNvSpPr>
          <p:nvPr>
            <p:ph idx="1"/>
          </p:nvPr>
        </p:nvSpPr>
        <p:spPr>
          <a:xfrm>
            <a:off x="490760" y="1178169"/>
            <a:ext cx="10789920" cy="5103759"/>
          </a:xfrm>
          <a:noFill/>
          <a:ln/>
        </p:spPr>
        <p:txBody>
          <a:bodyPr vert="horz" lIns="91435" tIns="45718" rIns="91435" bIns="45718" rtlCol="0">
            <a:noAutofit/>
          </a:bodyPr>
          <a:lstStyle/>
          <a:p>
            <a:pPr defTabSz="823143">
              <a:buNone/>
            </a:pPr>
            <a:r>
              <a:rPr lang="en-US">
                <a:solidFill>
                  <a:schemeClr val="accent2">
                    <a:lumMod val="50000"/>
                  </a:schemeClr>
                </a:solidFill>
              </a:rPr>
              <a:t>How does Windchill know which Versions to show in the BOM?</a:t>
            </a:r>
          </a:p>
          <a:p>
            <a:pPr defTabSz="823143">
              <a:buNone/>
            </a:pPr>
            <a:r>
              <a:rPr lang="en-US">
                <a:solidFill>
                  <a:schemeClr val="accent2">
                    <a:lumMod val="50000"/>
                  </a:schemeClr>
                </a:solidFill>
              </a:rPr>
              <a:t>Which of these Part Versions is the latest with state “Released?”</a:t>
            </a:r>
          </a:p>
        </p:txBody>
      </p:sp>
      <p:sp>
        <p:nvSpPr>
          <p:cNvPr id="1276930" name="Rectangle 102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M Configuration Management</a:t>
            </a:r>
            <a:endParaRPr lang="en-US" sz="1600"/>
          </a:p>
        </p:txBody>
      </p:sp>
      <p:sp>
        <p:nvSpPr>
          <p:cNvPr id="1276932" name="Rectangle 1028"/>
          <p:cNvSpPr>
            <a:spLocks noChangeArrowheads="1"/>
          </p:cNvSpPr>
          <p:nvPr/>
        </p:nvSpPr>
        <p:spPr bwMode="auto">
          <a:xfrm>
            <a:off x="4336219" y="2915710"/>
            <a:ext cx="411544" cy="411652"/>
          </a:xfrm>
          <a:prstGeom prst="rect">
            <a:avLst/>
          </a:prstGeom>
          <a:solidFill>
            <a:srgbClr val="F8F8F8"/>
          </a:solidFill>
          <a:ln w="19050">
            <a:solidFill>
              <a:srgbClr val="00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</a:t>
            </a:r>
          </a:p>
          <a:p>
            <a:r>
              <a:rPr lang="en-US" sz="1100" b="1"/>
              <a:t>A</a:t>
            </a:r>
          </a:p>
        </p:txBody>
      </p:sp>
      <p:sp>
        <p:nvSpPr>
          <p:cNvPr id="1276933" name="AutoShape 1029"/>
          <p:cNvSpPr>
            <a:spLocks noChangeArrowheads="1"/>
          </p:cNvSpPr>
          <p:nvPr/>
        </p:nvSpPr>
        <p:spPr bwMode="auto">
          <a:xfrm>
            <a:off x="5756618" y="2189602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</a:t>
            </a:r>
          </a:p>
        </p:txBody>
      </p:sp>
      <p:sp>
        <p:nvSpPr>
          <p:cNvPr id="1276934" name="Rectangle 1030"/>
          <p:cNvSpPr>
            <a:spLocks noChangeArrowheads="1"/>
          </p:cNvSpPr>
          <p:nvPr/>
        </p:nvSpPr>
        <p:spPr bwMode="auto">
          <a:xfrm>
            <a:off x="7322773" y="2915710"/>
            <a:ext cx="411544" cy="411652"/>
          </a:xfrm>
          <a:prstGeom prst="rect">
            <a:avLst/>
          </a:prstGeom>
          <a:solidFill>
            <a:srgbClr val="F8F8F8"/>
          </a:solidFill>
          <a:ln w="19050">
            <a:solidFill>
              <a:srgbClr val="00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</a:t>
            </a:r>
          </a:p>
          <a:p>
            <a:r>
              <a:rPr lang="en-US" sz="1100" b="1"/>
              <a:t>B</a:t>
            </a:r>
          </a:p>
        </p:txBody>
      </p:sp>
      <p:sp>
        <p:nvSpPr>
          <p:cNvPr id="1276935" name="AutoShape 1031"/>
          <p:cNvSpPr>
            <a:spLocks noChangeArrowheads="1"/>
          </p:cNvSpPr>
          <p:nvPr/>
        </p:nvSpPr>
        <p:spPr bwMode="auto">
          <a:xfrm>
            <a:off x="3447398" y="3618948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4</a:t>
            </a:r>
          </a:p>
        </p:txBody>
      </p:sp>
      <p:sp>
        <p:nvSpPr>
          <p:cNvPr id="1276936" name="AutoShape 1032"/>
          <p:cNvSpPr>
            <a:spLocks noChangeArrowheads="1"/>
          </p:cNvSpPr>
          <p:nvPr/>
        </p:nvSpPr>
        <p:spPr bwMode="auto">
          <a:xfrm>
            <a:off x="4267628" y="3618948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5</a:t>
            </a:r>
          </a:p>
        </p:txBody>
      </p:sp>
      <p:sp>
        <p:nvSpPr>
          <p:cNvPr id="1276937" name="AutoShape 1033"/>
          <p:cNvSpPr>
            <a:spLocks noChangeArrowheads="1"/>
          </p:cNvSpPr>
          <p:nvPr/>
        </p:nvSpPr>
        <p:spPr bwMode="auto">
          <a:xfrm>
            <a:off x="5082143" y="3618948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6</a:t>
            </a:r>
          </a:p>
        </p:txBody>
      </p:sp>
      <p:sp>
        <p:nvSpPr>
          <p:cNvPr id="1276938" name="AutoShape 1034"/>
          <p:cNvSpPr>
            <a:spLocks noChangeArrowheads="1"/>
          </p:cNvSpPr>
          <p:nvPr/>
        </p:nvSpPr>
        <p:spPr bwMode="auto">
          <a:xfrm>
            <a:off x="6476821" y="3618948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4</a:t>
            </a:r>
          </a:p>
        </p:txBody>
      </p:sp>
      <p:sp>
        <p:nvSpPr>
          <p:cNvPr id="1276939" name="AutoShape 1035"/>
          <p:cNvSpPr>
            <a:spLocks noChangeArrowheads="1"/>
          </p:cNvSpPr>
          <p:nvPr/>
        </p:nvSpPr>
        <p:spPr bwMode="auto">
          <a:xfrm>
            <a:off x="7254182" y="3618948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7</a:t>
            </a:r>
          </a:p>
        </p:txBody>
      </p:sp>
      <p:sp>
        <p:nvSpPr>
          <p:cNvPr id="1276940" name="AutoShape 1036"/>
          <p:cNvSpPr>
            <a:spLocks noChangeArrowheads="1"/>
          </p:cNvSpPr>
          <p:nvPr/>
        </p:nvSpPr>
        <p:spPr bwMode="auto">
          <a:xfrm>
            <a:off x="8031544" y="3618948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6</a:t>
            </a:r>
          </a:p>
        </p:txBody>
      </p:sp>
      <p:sp>
        <p:nvSpPr>
          <p:cNvPr id="1276941" name="Rectangle 1037"/>
          <p:cNvSpPr>
            <a:spLocks noChangeArrowheads="1"/>
          </p:cNvSpPr>
          <p:nvPr/>
        </p:nvSpPr>
        <p:spPr bwMode="auto">
          <a:xfrm>
            <a:off x="3630307" y="4385077"/>
            <a:ext cx="411544" cy="411652"/>
          </a:xfrm>
          <a:prstGeom prst="rect">
            <a:avLst/>
          </a:prstGeom>
          <a:solidFill>
            <a:srgbClr val="F8F8F8"/>
          </a:solidFill>
          <a:ln w="19050">
            <a:solidFill>
              <a:srgbClr val="00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5</a:t>
            </a:r>
          </a:p>
          <a:p>
            <a:r>
              <a:rPr lang="en-US" sz="1100" b="1"/>
              <a:t>A</a:t>
            </a:r>
          </a:p>
        </p:txBody>
      </p:sp>
      <p:sp>
        <p:nvSpPr>
          <p:cNvPr id="1276942" name="Rectangle 1038"/>
          <p:cNvSpPr>
            <a:spLocks noChangeArrowheads="1"/>
          </p:cNvSpPr>
          <p:nvPr/>
        </p:nvSpPr>
        <p:spPr bwMode="auto">
          <a:xfrm>
            <a:off x="5024984" y="4385077"/>
            <a:ext cx="411544" cy="411652"/>
          </a:xfrm>
          <a:prstGeom prst="rect">
            <a:avLst/>
          </a:prstGeom>
          <a:solidFill>
            <a:srgbClr val="F8F8F8"/>
          </a:solidFill>
          <a:ln w="19050">
            <a:solidFill>
              <a:srgbClr val="00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5</a:t>
            </a:r>
          </a:p>
          <a:p>
            <a:r>
              <a:rPr lang="en-US" sz="1100" b="1"/>
              <a:t>B</a:t>
            </a:r>
          </a:p>
        </p:txBody>
      </p:sp>
      <p:sp>
        <p:nvSpPr>
          <p:cNvPr id="1276943" name="Rectangle 1039"/>
          <p:cNvSpPr>
            <a:spLocks noChangeArrowheads="1"/>
          </p:cNvSpPr>
          <p:nvPr/>
        </p:nvSpPr>
        <p:spPr bwMode="auto">
          <a:xfrm>
            <a:off x="7322773" y="4385077"/>
            <a:ext cx="411544" cy="411652"/>
          </a:xfrm>
          <a:prstGeom prst="rect">
            <a:avLst/>
          </a:prstGeom>
          <a:solidFill>
            <a:srgbClr val="F8F8F8"/>
          </a:solidFill>
          <a:ln w="19050">
            <a:solidFill>
              <a:srgbClr val="00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7</a:t>
            </a:r>
          </a:p>
          <a:p>
            <a:r>
              <a:rPr lang="en-US" sz="1100" b="1"/>
              <a:t>A</a:t>
            </a:r>
          </a:p>
        </p:txBody>
      </p:sp>
      <p:sp>
        <p:nvSpPr>
          <p:cNvPr id="1276944" name="AutoShape 1040"/>
          <p:cNvSpPr>
            <a:spLocks noChangeArrowheads="1"/>
          </p:cNvSpPr>
          <p:nvPr/>
        </p:nvSpPr>
        <p:spPr bwMode="auto">
          <a:xfrm>
            <a:off x="3207330" y="5151206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8</a:t>
            </a:r>
          </a:p>
        </p:txBody>
      </p:sp>
      <p:sp>
        <p:nvSpPr>
          <p:cNvPr id="1276945" name="AutoShape 1041"/>
          <p:cNvSpPr>
            <a:spLocks noChangeArrowheads="1"/>
          </p:cNvSpPr>
          <p:nvPr/>
        </p:nvSpPr>
        <p:spPr bwMode="auto">
          <a:xfrm>
            <a:off x="3858942" y="5151206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9</a:t>
            </a:r>
          </a:p>
        </p:txBody>
      </p:sp>
      <p:sp>
        <p:nvSpPr>
          <p:cNvPr id="1276946" name="AutoShape 1042"/>
          <p:cNvSpPr>
            <a:spLocks noChangeArrowheads="1"/>
          </p:cNvSpPr>
          <p:nvPr/>
        </p:nvSpPr>
        <p:spPr bwMode="auto">
          <a:xfrm>
            <a:off x="4567713" y="5151206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0</a:t>
            </a:r>
          </a:p>
        </p:txBody>
      </p:sp>
      <p:sp>
        <p:nvSpPr>
          <p:cNvPr id="1276947" name="AutoShape 1043"/>
          <p:cNvSpPr>
            <a:spLocks noChangeArrowheads="1"/>
          </p:cNvSpPr>
          <p:nvPr/>
        </p:nvSpPr>
        <p:spPr bwMode="auto">
          <a:xfrm>
            <a:off x="5310779" y="5151206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9</a:t>
            </a:r>
          </a:p>
        </p:txBody>
      </p:sp>
      <p:sp>
        <p:nvSpPr>
          <p:cNvPr id="1276948" name="AutoShape 1044"/>
          <p:cNvSpPr>
            <a:spLocks noChangeArrowheads="1"/>
          </p:cNvSpPr>
          <p:nvPr/>
        </p:nvSpPr>
        <p:spPr bwMode="auto">
          <a:xfrm>
            <a:off x="6876933" y="5151206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1</a:t>
            </a:r>
          </a:p>
        </p:txBody>
      </p:sp>
      <p:sp>
        <p:nvSpPr>
          <p:cNvPr id="1276949" name="AutoShape 1045"/>
          <p:cNvSpPr>
            <a:spLocks noChangeArrowheads="1"/>
          </p:cNvSpPr>
          <p:nvPr/>
        </p:nvSpPr>
        <p:spPr bwMode="auto">
          <a:xfrm>
            <a:off x="7711454" y="5151206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2</a:t>
            </a:r>
          </a:p>
        </p:txBody>
      </p:sp>
      <p:cxnSp>
        <p:nvCxnSpPr>
          <p:cNvPr id="1276950" name="AutoShape 1046"/>
          <p:cNvCxnSpPr>
            <a:cxnSpLocks noChangeShapeType="1"/>
            <a:stCxn id="1276933" idx="2"/>
            <a:endCxn id="1276932" idx="0"/>
          </p:cNvCxnSpPr>
          <p:nvPr/>
        </p:nvCxnSpPr>
        <p:spPr bwMode="auto">
          <a:xfrm flipH="1">
            <a:off x="4541992" y="2609830"/>
            <a:ext cx="1488990" cy="297304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</p:spPr>
      </p:cxnSp>
      <p:cxnSp>
        <p:nvCxnSpPr>
          <p:cNvPr id="1276951" name="AutoShape 1047"/>
          <p:cNvCxnSpPr>
            <a:cxnSpLocks noChangeShapeType="1"/>
            <a:stCxn id="1276933" idx="2"/>
            <a:endCxn id="1276934" idx="0"/>
          </p:cNvCxnSpPr>
          <p:nvPr/>
        </p:nvCxnSpPr>
        <p:spPr bwMode="auto">
          <a:xfrm>
            <a:off x="6030981" y="2609830"/>
            <a:ext cx="1497564" cy="297304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</p:spPr>
      </p:cxnSp>
      <p:cxnSp>
        <p:nvCxnSpPr>
          <p:cNvPr id="1276952" name="AutoShape 1048"/>
          <p:cNvCxnSpPr>
            <a:cxnSpLocks noChangeShapeType="1"/>
            <a:stCxn id="1276932" idx="2"/>
            <a:endCxn id="1276935" idx="0"/>
          </p:cNvCxnSpPr>
          <p:nvPr/>
        </p:nvCxnSpPr>
        <p:spPr bwMode="auto">
          <a:xfrm flipH="1">
            <a:off x="3721762" y="3335938"/>
            <a:ext cx="820231" cy="274434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6953" name="AutoShape 1049"/>
          <p:cNvCxnSpPr>
            <a:cxnSpLocks noChangeShapeType="1"/>
            <a:stCxn id="1276932" idx="2"/>
            <a:endCxn id="1276936" idx="0"/>
          </p:cNvCxnSpPr>
          <p:nvPr/>
        </p:nvCxnSpPr>
        <p:spPr bwMode="auto">
          <a:xfrm>
            <a:off x="4541991" y="3335938"/>
            <a:ext cx="0" cy="274434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6954" name="AutoShape 1050"/>
          <p:cNvCxnSpPr>
            <a:cxnSpLocks noChangeShapeType="1"/>
            <a:stCxn id="1276932" idx="2"/>
            <a:endCxn id="1276937" idx="0"/>
          </p:cNvCxnSpPr>
          <p:nvPr/>
        </p:nvCxnSpPr>
        <p:spPr bwMode="auto">
          <a:xfrm>
            <a:off x="4541993" y="3335938"/>
            <a:ext cx="814515" cy="274434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6955" name="AutoShape 1051"/>
          <p:cNvCxnSpPr>
            <a:cxnSpLocks noChangeShapeType="1"/>
            <a:stCxn id="1276934" idx="2"/>
            <a:endCxn id="1276940" idx="0"/>
          </p:cNvCxnSpPr>
          <p:nvPr/>
        </p:nvCxnSpPr>
        <p:spPr bwMode="auto">
          <a:xfrm>
            <a:off x="7528547" y="3335938"/>
            <a:ext cx="777361" cy="274434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6956" name="AutoShape 1052"/>
          <p:cNvCxnSpPr>
            <a:cxnSpLocks noChangeShapeType="1"/>
            <a:stCxn id="1276934" idx="2"/>
            <a:endCxn id="1276939" idx="0"/>
          </p:cNvCxnSpPr>
          <p:nvPr/>
        </p:nvCxnSpPr>
        <p:spPr bwMode="auto">
          <a:xfrm>
            <a:off x="7528545" y="3335938"/>
            <a:ext cx="0" cy="274434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6957" name="AutoShape 1053"/>
          <p:cNvCxnSpPr>
            <a:cxnSpLocks noChangeShapeType="1"/>
            <a:stCxn id="1276934" idx="2"/>
            <a:endCxn id="1276938" idx="0"/>
          </p:cNvCxnSpPr>
          <p:nvPr/>
        </p:nvCxnSpPr>
        <p:spPr bwMode="auto">
          <a:xfrm flipH="1">
            <a:off x="6751185" y="3335938"/>
            <a:ext cx="777361" cy="274434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6958" name="AutoShape 1054"/>
          <p:cNvCxnSpPr>
            <a:cxnSpLocks noChangeShapeType="1"/>
            <a:stCxn id="1276936" idx="2"/>
            <a:endCxn id="1276941" idx="0"/>
          </p:cNvCxnSpPr>
          <p:nvPr/>
        </p:nvCxnSpPr>
        <p:spPr bwMode="auto">
          <a:xfrm flipH="1">
            <a:off x="3836080" y="4039175"/>
            <a:ext cx="705913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6959" name="AutoShape 1055"/>
          <p:cNvCxnSpPr>
            <a:cxnSpLocks noChangeShapeType="1"/>
            <a:stCxn id="1276936" idx="2"/>
            <a:endCxn id="1276942" idx="0"/>
          </p:cNvCxnSpPr>
          <p:nvPr/>
        </p:nvCxnSpPr>
        <p:spPr bwMode="auto">
          <a:xfrm>
            <a:off x="4541993" y="4039175"/>
            <a:ext cx="688765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6960" name="AutoShape 1056"/>
          <p:cNvCxnSpPr>
            <a:cxnSpLocks noChangeShapeType="1"/>
            <a:stCxn id="1276941" idx="2"/>
            <a:endCxn id="1276944" idx="0"/>
          </p:cNvCxnSpPr>
          <p:nvPr/>
        </p:nvCxnSpPr>
        <p:spPr bwMode="auto">
          <a:xfrm flipH="1">
            <a:off x="3481694" y="4805305"/>
            <a:ext cx="354385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6961" name="AutoShape 1057"/>
          <p:cNvCxnSpPr>
            <a:cxnSpLocks noChangeShapeType="1"/>
            <a:stCxn id="1276941" idx="2"/>
            <a:endCxn id="1276945" idx="0"/>
          </p:cNvCxnSpPr>
          <p:nvPr/>
        </p:nvCxnSpPr>
        <p:spPr bwMode="auto">
          <a:xfrm>
            <a:off x="3836079" y="4805305"/>
            <a:ext cx="297226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6962" name="AutoShape 1058"/>
          <p:cNvCxnSpPr>
            <a:cxnSpLocks noChangeShapeType="1"/>
            <a:stCxn id="1276942" idx="2"/>
            <a:endCxn id="1276946" idx="0"/>
          </p:cNvCxnSpPr>
          <p:nvPr/>
        </p:nvCxnSpPr>
        <p:spPr bwMode="auto">
          <a:xfrm flipH="1">
            <a:off x="4842077" y="4805305"/>
            <a:ext cx="388681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6963" name="AutoShape 1059"/>
          <p:cNvCxnSpPr>
            <a:cxnSpLocks noChangeShapeType="1"/>
            <a:stCxn id="1276942" idx="2"/>
            <a:endCxn id="1276947" idx="0"/>
          </p:cNvCxnSpPr>
          <p:nvPr/>
        </p:nvCxnSpPr>
        <p:spPr bwMode="auto">
          <a:xfrm>
            <a:off x="5230758" y="4805305"/>
            <a:ext cx="354385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6964" name="AutoShape 1060"/>
          <p:cNvCxnSpPr>
            <a:cxnSpLocks noChangeShapeType="1"/>
            <a:stCxn id="1276943" idx="2"/>
            <a:endCxn id="1276949" idx="0"/>
          </p:cNvCxnSpPr>
          <p:nvPr/>
        </p:nvCxnSpPr>
        <p:spPr bwMode="auto">
          <a:xfrm>
            <a:off x="7528547" y="4805305"/>
            <a:ext cx="457271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6965" name="AutoShape 1061"/>
          <p:cNvCxnSpPr>
            <a:cxnSpLocks noChangeShapeType="1"/>
            <a:stCxn id="1276943" idx="2"/>
            <a:endCxn id="1276948" idx="0"/>
          </p:cNvCxnSpPr>
          <p:nvPr/>
        </p:nvCxnSpPr>
        <p:spPr bwMode="auto">
          <a:xfrm flipH="1">
            <a:off x="7151297" y="4805305"/>
            <a:ext cx="377249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6966" name="AutoShape 1062"/>
          <p:cNvCxnSpPr>
            <a:cxnSpLocks noChangeShapeType="1"/>
            <a:stCxn id="1276939" idx="2"/>
            <a:endCxn id="1276943" idx="0"/>
          </p:cNvCxnSpPr>
          <p:nvPr/>
        </p:nvCxnSpPr>
        <p:spPr bwMode="auto">
          <a:xfrm>
            <a:off x="7528545" y="4039175"/>
            <a:ext cx="0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1276967" name="Rectangle 1063"/>
          <p:cNvSpPr>
            <a:spLocks noChangeArrowheads="1"/>
          </p:cNvSpPr>
          <p:nvPr/>
        </p:nvSpPr>
        <p:spPr bwMode="auto">
          <a:xfrm>
            <a:off x="7825772" y="2921429"/>
            <a:ext cx="837378" cy="3030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82886" tIns="41443" rIns="82886" bIns="41443">
            <a:spAutoFit/>
          </a:bodyPr>
          <a:lstStyle/>
          <a:p>
            <a:r>
              <a:rPr lang="en-US" sz="1400" b="1" i="1">
                <a:solidFill>
                  <a:schemeClr val="accent2">
                    <a:lumMod val="50000"/>
                  </a:schemeClr>
                </a:solidFill>
              </a:rPr>
              <a:t>In Work</a:t>
            </a:r>
          </a:p>
        </p:txBody>
      </p:sp>
      <p:sp>
        <p:nvSpPr>
          <p:cNvPr id="1276968" name="Rectangle 1064"/>
          <p:cNvSpPr>
            <a:spLocks noChangeArrowheads="1"/>
          </p:cNvSpPr>
          <p:nvPr/>
        </p:nvSpPr>
        <p:spPr bwMode="auto">
          <a:xfrm>
            <a:off x="3370235" y="2977173"/>
            <a:ext cx="967415" cy="3030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82886" tIns="41443" rIns="82886" bIns="41443">
            <a:spAutoFit/>
          </a:bodyPr>
          <a:lstStyle/>
          <a:p>
            <a:r>
              <a:rPr lang="en-US" sz="1400" b="1" i="1">
                <a:solidFill>
                  <a:schemeClr val="accent2">
                    <a:lumMod val="50000"/>
                  </a:schemeClr>
                </a:solidFill>
              </a:rPr>
              <a:t>Released</a:t>
            </a:r>
          </a:p>
        </p:txBody>
      </p:sp>
      <p:sp>
        <p:nvSpPr>
          <p:cNvPr id="1276969" name="Rectangle 1065"/>
          <p:cNvSpPr>
            <a:spLocks noChangeArrowheads="1"/>
          </p:cNvSpPr>
          <p:nvPr/>
        </p:nvSpPr>
        <p:spPr bwMode="auto">
          <a:xfrm>
            <a:off x="2661464" y="4453687"/>
            <a:ext cx="967415" cy="3030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82886" tIns="41443" rIns="82886" bIns="41443">
            <a:spAutoFit/>
          </a:bodyPr>
          <a:lstStyle/>
          <a:p>
            <a:r>
              <a:rPr lang="en-US" sz="1400" b="1" i="1">
                <a:solidFill>
                  <a:schemeClr val="accent2">
                    <a:lumMod val="50000"/>
                  </a:schemeClr>
                </a:solidFill>
              </a:rPr>
              <a:t>Released</a:t>
            </a:r>
          </a:p>
        </p:txBody>
      </p:sp>
      <p:sp>
        <p:nvSpPr>
          <p:cNvPr id="1276970" name="Rectangle 1066"/>
          <p:cNvSpPr>
            <a:spLocks noChangeArrowheads="1"/>
          </p:cNvSpPr>
          <p:nvPr/>
        </p:nvSpPr>
        <p:spPr bwMode="auto">
          <a:xfrm>
            <a:off x="5427956" y="4442252"/>
            <a:ext cx="967415" cy="3030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82886" tIns="41443" rIns="82886" bIns="41443">
            <a:spAutoFit/>
          </a:bodyPr>
          <a:lstStyle/>
          <a:p>
            <a:r>
              <a:rPr lang="en-US" sz="1400" b="1" i="1">
                <a:solidFill>
                  <a:schemeClr val="accent2">
                    <a:lumMod val="50000"/>
                  </a:schemeClr>
                </a:solidFill>
              </a:rPr>
              <a:t>Released</a:t>
            </a:r>
          </a:p>
        </p:txBody>
      </p:sp>
      <p:sp>
        <p:nvSpPr>
          <p:cNvPr id="1276971" name="Rectangle 1067"/>
          <p:cNvSpPr>
            <a:spLocks noChangeArrowheads="1"/>
          </p:cNvSpPr>
          <p:nvPr/>
        </p:nvSpPr>
        <p:spPr bwMode="auto">
          <a:xfrm>
            <a:off x="7768614" y="4430817"/>
            <a:ext cx="837378" cy="3030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82886" tIns="41443" rIns="82886" bIns="41443">
            <a:spAutoFit/>
          </a:bodyPr>
          <a:lstStyle/>
          <a:p>
            <a:r>
              <a:rPr lang="en-US" sz="1400" b="1" i="1">
                <a:solidFill>
                  <a:schemeClr val="accent2">
                    <a:lumMod val="50000"/>
                  </a:schemeClr>
                </a:solidFill>
              </a:rPr>
              <a:t>In Work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7999" name="Rectangle 1071"/>
          <p:cNvSpPr>
            <a:spLocks noGrp="1" noChangeArrowheads="1"/>
          </p:cNvSpPr>
          <p:nvPr>
            <p:ph idx="1"/>
          </p:nvPr>
        </p:nvSpPr>
        <p:spPr>
          <a:xfrm>
            <a:off x="490760" y="1256786"/>
            <a:ext cx="10789920" cy="5025142"/>
          </a:xfrm>
          <a:noFill/>
          <a:ln/>
        </p:spPr>
        <p:txBody>
          <a:bodyPr vert="horz" lIns="91435" tIns="45718" rIns="91435" bIns="45718" rtlCol="0">
            <a:noAutofit/>
          </a:bodyPr>
          <a:lstStyle/>
          <a:p>
            <a:pPr defTabSz="823143">
              <a:buNone/>
            </a:pPr>
            <a:r>
              <a:rPr lang="en-US">
                <a:solidFill>
                  <a:schemeClr val="accent2">
                    <a:lumMod val="50000"/>
                  </a:schemeClr>
                </a:solidFill>
              </a:rPr>
              <a:t>Which of these Part Versions is the latest with state “Released?”</a:t>
            </a:r>
          </a:p>
        </p:txBody>
      </p:sp>
      <p:sp>
        <p:nvSpPr>
          <p:cNvPr id="1277954" name="Rectangle 102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M Configuration Management</a:t>
            </a:r>
            <a:endParaRPr lang="en-US" sz="1600"/>
          </a:p>
        </p:txBody>
      </p:sp>
      <p:sp>
        <p:nvSpPr>
          <p:cNvPr id="1277956" name="Rectangle 1028"/>
          <p:cNvSpPr>
            <a:spLocks noChangeArrowheads="1"/>
          </p:cNvSpPr>
          <p:nvPr/>
        </p:nvSpPr>
        <p:spPr bwMode="auto">
          <a:xfrm>
            <a:off x="4336219" y="2919302"/>
            <a:ext cx="411544" cy="411652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9050">
            <a:solidFill>
              <a:srgbClr val="00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</a:t>
            </a:r>
          </a:p>
          <a:p>
            <a:r>
              <a:rPr lang="en-US" sz="1100" b="1"/>
              <a:t>A</a:t>
            </a:r>
          </a:p>
        </p:txBody>
      </p:sp>
      <p:sp>
        <p:nvSpPr>
          <p:cNvPr id="1277957" name="AutoShape 1029"/>
          <p:cNvSpPr>
            <a:spLocks noChangeArrowheads="1"/>
          </p:cNvSpPr>
          <p:nvPr/>
        </p:nvSpPr>
        <p:spPr bwMode="auto">
          <a:xfrm>
            <a:off x="5756618" y="2193194"/>
            <a:ext cx="548726" cy="411652"/>
          </a:xfrm>
          <a:prstGeom prst="flowChartDecision">
            <a:avLst/>
          </a:prstGeom>
          <a:solidFill>
            <a:schemeClr val="accent5">
              <a:lumMod val="75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</a:t>
            </a:r>
          </a:p>
        </p:txBody>
      </p:sp>
      <p:sp>
        <p:nvSpPr>
          <p:cNvPr id="1277958" name="Rectangle 1030"/>
          <p:cNvSpPr>
            <a:spLocks noChangeArrowheads="1"/>
          </p:cNvSpPr>
          <p:nvPr/>
        </p:nvSpPr>
        <p:spPr bwMode="auto">
          <a:xfrm>
            <a:off x="7322773" y="2919302"/>
            <a:ext cx="411544" cy="411652"/>
          </a:xfrm>
          <a:prstGeom prst="rect">
            <a:avLst/>
          </a:prstGeom>
          <a:solidFill>
            <a:srgbClr val="F8F8F8"/>
          </a:solidFill>
          <a:ln w="19050">
            <a:solidFill>
              <a:srgbClr val="00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</a:t>
            </a:r>
          </a:p>
          <a:p>
            <a:r>
              <a:rPr lang="en-US" sz="1100" b="1"/>
              <a:t>B</a:t>
            </a:r>
          </a:p>
        </p:txBody>
      </p:sp>
      <p:sp>
        <p:nvSpPr>
          <p:cNvPr id="1277959" name="AutoShape 1031"/>
          <p:cNvSpPr>
            <a:spLocks noChangeArrowheads="1"/>
          </p:cNvSpPr>
          <p:nvPr/>
        </p:nvSpPr>
        <p:spPr bwMode="auto">
          <a:xfrm>
            <a:off x="3447398" y="3622540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4</a:t>
            </a:r>
          </a:p>
        </p:txBody>
      </p:sp>
      <p:sp>
        <p:nvSpPr>
          <p:cNvPr id="1277960" name="AutoShape 1032"/>
          <p:cNvSpPr>
            <a:spLocks noChangeArrowheads="1"/>
          </p:cNvSpPr>
          <p:nvPr/>
        </p:nvSpPr>
        <p:spPr bwMode="auto">
          <a:xfrm>
            <a:off x="4267628" y="3622540"/>
            <a:ext cx="548726" cy="411652"/>
          </a:xfrm>
          <a:prstGeom prst="flowChartDecision">
            <a:avLst/>
          </a:prstGeom>
          <a:solidFill>
            <a:schemeClr val="accent5">
              <a:lumMod val="75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5</a:t>
            </a:r>
          </a:p>
        </p:txBody>
      </p:sp>
      <p:sp>
        <p:nvSpPr>
          <p:cNvPr id="1277961" name="AutoShape 1033"/>
          <p:cNvSpPr>
            <a:spLocks noChangeArrowheads="1"/>
          </p:cNvSpPr>
          <p:nvPr/>
        </p:nvSpPr>
        <p:spPr bwMode="auto">
          <a:xfrm>
            <a:off x="5082143" y="3622540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6</a:t>
            </a:r>
          </a:p>
        </p:txBody>
      </p:sp>
      <p:sp>
        <p:nvSpPr>
          <p:cNvPr id="1277962" name="AutoShape 1034"/>
          <p:cNvSpPr>
            <a:spLocks noChangeArrowheads="1"/>
          </p:cNvSpPr>
          <p:nvPr/>
        </p:nvSpPr>
        <p:spPr bwMode="auto">
          <a:xfrm>
            <a:off x="6476821" y="3622540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4</a:t>
            </a:r>
          </a:p>
        </p:txBody>
      </p:sp>
      <p:sp>
        <p:nvSpPr>
          <p:cNvPr id="1277963" name="AutoShape 1035"/>
          <p:cNvSpPr>
            <a:spLocks noChangeArrowheads="1"/>
          </p:cNvSpPr>
          <p:nvPr/>
        </p:nvSpPr>
        <p:spPr bwMode="auto">
          <a:xfrm>
            <a:off x="7254182" y="3622540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7</a:t>
            </a:r>
          </a:p>
        </p:txBody>
      </p:sp>
      <p:sp>
        <p:nvSpPr>
          <p:cNvPr id="1277964" name="AutoShape 1036"/>
          <p:cNvSpPr>
            <a:spLocks noChangeArrowheads="1"/>
          </p:cNvSpPr>
          <p:nvPr/>
        </p:nvSpPr>
        <p:spPr bwMode="auto">
          <a:xfrm>
            <a:off x="8031544" y="3622540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6</a:t>
            </a:r>
          </a:p>
        </p:txBody>
      </p:sp>
      <p:sp>
        <p:nvSpPr>
          <p:cNvPr id="1277965" name="Rectangle 1037"/>
          <p:cNvSpPr>
            <a:spLocks noChangeArrowheads="1"/>
          </p:cNvSpPr>
          <p:nvPr/>
        </p:nvSpPr>
        <p:spPr bwMode="auto">
          <a:xfrm>
            <a:off x="3630307" y="4388669"/>
            <a:ext cx="411544" cy="411652"/>
          </a:xfrm>
          <a:prstGeom prst="rect">
            <a:avLst/>
          </a:prstGeom>
          <a:solidFill>
            <a:srgbClr val="F8F8F8"/>
          </a:solidFill>
          <a:ln w="19050">
            <a:solidFill>
              <a:srgbClr val="00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5</a:t>
            </a:r>
          </a:p>
          <a:p>
            <a:r>
              <a:rPr lang="en-US" sz="1100" b="1"/>
              <a:t>A</a:t>
            </a:r>
          </a:p>
        </p:txBody>
      </p:sp>
      <p:sp>
        <p:nvSpPr>
          <p:cNvPr id="1277966" name="Rectangle 1038"/>
          <p:cNvSpPr>
            <a:spLocks noChangeArrowheads="1"/>
          </p:cNvSpPr>
          <p:nvPr/>
        </p:nvSpPr>
        <p:spPr bwMode="auto">
          <a:xfrm>
            <a:off x="5024984" y="4388669"/>
            <a:ext cx="411544" cy="411652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9050">
            <a:solidFill>
              <a:srgbClr val="00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5</a:t>
            </a:r>
          </a:p>
          <a:p>
            <a:r>
              <a:rPr lang="en-US" sz="1100" b="1"/>
              <a:t>B</a:t>
            </a:r>
          </a:p>
        </p:txBody>
      </p:sp>
      <p:sp>
        <p:nvSpPr>
          <p:cNvPr id="1277967" name="Rectangle 1039"/>
          <p:cNvSpPr>
            <a:spLocks noChangeArrowheads="1"/>
          </p:cNvSpPr>
          <p:nvPr/>
        </p:nvSpPr>
        <p:spPr bwMode="auto">
          <a:xfrm>
            <a:off x="7322773" y="4388669"/>
            <a:ext cx="411544" cy="411652"/>
          </a:xfrm>
          <a:prstGeom prst="rect">
            <a:avLst/>
          </a:prstGeom>
          <a:solidFill>
            <a:srgbClr val="F8F8F8"/>
          </a:solidFill>
          <a:ln w="19050">
            <a:solidFill>
              <a:srgbClr val="00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7</a:t>
            </a:r>
          </a:p>
          <a:p>
            <a:r>
              <a:rPr lang="en-US" sz="1100" b="1"/>
              <a:t>A</a:t>
            </a:r>
          </a:p>
        </p:txBody>
      </p:sp>
      <p:sp>
        <p:nvSpPr>
          <p:cNvPr id="1277968" name="AutoShape 1040"/>
          <p:cNvSpPr>
            <a:spLocks noChangeArrowheads="1"/>
          </p:cNvSpPr>
          <p:nvPr/>
        </p:nvSpPr>
        <p:spPr bwMode="auto">
          <a:xfrm>
            <a:off x="3207330" y="5154798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8</a:t>
            </a:r>
          </a:p>
        </p:txBody>
      </p:sp>
      <p:sp>
        <p:nvSpPr>
          <p:cNvPr id="1277969" name="AutoShape 1041"/>
          <p:cNvSpPr>
            <a:spLocks noChangeArrowheads="1"/>
          </p:cNvSpPr>
          <p:nvPr/>
        </p:nvSpPr>
        <p:spPr bwMode="auto">
          <a:xfrm>
            <a:off x="3858942" y="5154798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9</a:t>
            </a:r>
          </a:p>
        </p:txBody>
      </p:sp>
      <p:sp>
        <p:nvSpPr>
          <p:cNvPr id="1277970" name="AutoShape 1042"/>
          <p:cNvSpPr>
            <a:spLocks noChangeArrowheads="1"/>
          </p:cNvSpPr>
          <p:nvPr/>
        </p:nvSpPr>
        <p:spPr bwMode="auto">
          <a:xfrm>
            <a:off x="4567713" y="5154798"/>
            <a:ext cx="548726" cy="411652"/>
          </a:xfrm>
          <a:prstGeom prst="flowChartDecision">
            <a:avLst/>
          </a:prstGeom>
          <a:solidFill>
            <a:schemeClr val="accent5">
              <a:lumMod val="75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0</a:t>
            </a:r>
          </a:p>
        </p:txBody>
      </p:sp>
      <p:sp>
        <p:nvSpPr>
          <p:cNvPr id="1277971" name="AutoShape 1043"/>
          <p:cNvSpPr>
            <a:spLocks noChangeArrowheads="1"/>
          </p:cNvSpPr>
          <p:nvPr/>
        </p:nvSpPr>
        <p:spPr bwMode="auto">
          <a:xfrm>
            <a:off x="5310779" y="5154798"/>
            <a:ext cx="548726" cy="411652"/>
          </a:xfrm>
          <a:prstGeom prst="flowChartDecision">
            <a:avLst/>
          </a:prstGeom>
          <a:solidFill>
            <a:schemeClr val="accent5">
              <a:lumMod val="75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9</a:t>
            </a:r>
          </a:p>
        </p:txBody>
      </p:sp>
      <p:sp>
        <p:nvSpPr>
          <p:cNvPr id="1277972" name="AutoShape 1044"/>
          <p:cNvSpPr>
            <a:spLocks noChangeArrowheads="1"/>
          </p:cNvSpPr>
          <p:nvPr/>
        </p:nvSpPr>
        <p:spPr bwMode="auto">
          <a:xfrm>
            <a:off x="6876933" y="5154798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1</a:t>
            </a:r>
          </a:p>
        </p:txBody>
      </p:sp>
      <p:sp>
        <p:nvSpPr>
          <p:cNvPr id="1277973" name="AutoShape 1045"/>
          <p:cNvSpPr>
            <a:spLocks noChangeArrowheads="1"/>
          </p:cNvSpPr>
          <p:nvPr/>
        </p:nvSpPr>
        <p:spPr bwMode="auto">
          <a:xfrm>
            <a:off x="7711454" y="5154798"/>
            <a:ext cx="548726" cy="411652"/>
          </a:xfrm>
          <a:prstGeom prst="flowChartDecision">
            <a:avLst/>
          </a:prstGeom>
          <a:solidFill>
            <a:srgbClr val="F8F8F8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82886" tIns="41443" rIns="82886" bIns="41443" anchor="ctr"/>
          <a:lstStyle/>
          <a:p>
            <a:r>
              <a:rPr lang="en-US" sz="1100" b="1"/>
              <a:t>12</a:t>
            </a:r>
          </a:p>
        </p:txBody>
      </p:sp>
      <p:cxnSp>
        <p:nvCxnSpPr>
          <p:cNvPr id="1277974" name="AutoShape 1046"/>
          <p:cNvCxnSpPr>
            <a:cxnSpLocks noChangeShapeType="1"/>
            <a:stCxn id="1277957" idx="2"/>
            <a:endCxn id="1277956" idx="0"/>
          </p:cNvCxnSpPr>
          <p:nvPr/>
        </p:nvCxnSpPr>
        <p:spPr bwMode="auto">
          <a:xfrm flipH="1">
            <a:off x="4541992" y="2613422"/>
            <a:ext cx="1488990" cy="297304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7975" name="AutoShape 1047"/>
          <p:cNvCxnSpPr>
            <a:cxnSpLocks noChangeShapeType="1"/>
            <a:stCxn id="1277957" idx="2"/>
            <a:endCxn id="1277958" idx="0"/>
          </p:cNvCxnSpPr>
          <p:nvPr/>
        </p:nvCxnSpPr>
        <p:spPr bwMode="auto">
          <a:xfrm>
            <a:off x="6030981" y="2613422"/>
            <a:ext cx="1497564" cy="297304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 type="triangle" w="med" len="med"/>
          </a:ln>
          <a:effectLst/>
        </p:spPr>
      </p:cxnSp>
      <p:cxnSp>
        <p:nvCxnSpPr>
          <p:cNvPr id="1277976" name="AutoShape 1048"/>
          <p:cNvCxnSpPr>
            <a:cxnSpLocks noChangeShapeType="1"/>
            <a:stCxn id="1277956" idx="2"/>
            <a:endCxn id="1277959" idx="0"/>
          </p:cNvCxnSpPr>
          <p:nvPr/>
        </p:nvCxnSpPr>
        <p:spPr bwMode="auto">
          <a:xfrm flipH="1">
            <a:off x="3721762" y="3339530"/>
            <a:ext cx="820231" cy="274434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7977" name="AutoShape 1049"/>
          <p:cNvCxnSpPr>
            <a:cxnSpLocks noChangeShapeType="1"/>
            <a:stCxn id="1277956" idx="2"/>
            <a:endCxn id="1277960" idx="0"/>
          </p:cNvCxnSpPr>
          <p:nvPr/>
        </p:nvCxnSpPr>
        <p:spPr bwMode="auto">
          <a:xfrm>
            <a:off x="4541991" y="3339530"/>
            <a:ext cx="0" cy="274434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7978" name="AutoShape 1050"/>
          <p:cNvCxnSpPr>
            <a:cxnSpLocks noChangeShapeType="1"/>
            <a:stCxn id="1277956" idx="2"/>
            <a:endCxn id="1277961" idx="0"/>
          </p:cNvCxnSpPr>
          <p:nvPr/>
        </p:nvCxnSpPr>
        <p:spPr bwMode="auto">
          <a:xfrm>
            <a:off x="4541993" y="3339530"/>
            <a:ext cx="814515" cy="274434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7979" name="AutoShape 1051"/>
          <p:cNvCxnSpPr>
            <a:cxnSpLocks noChangeShapeType="1"/>
            <a:stCxn id="1277958" idx="2"/>
            <a:endCxn id="1277964" idx="0"/>
          </p:cNvCxnSpPr>
          <p:nvPr/>
        </p:nvCxnSpPr>
        <p:spPr bwMode="auto">
          <a:xfrm>
            <a:off x="7528547" y="3339530"/>
            <a:ext cx="777361" cy="274434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7980" name="AutoShape 1052"/>
          <p:cNvCxnSpPr>
            <a:cxnSpLocks noChangeShapeType="1"/>
            <a:stCxn id="1277958" idx="2"/>
            <a:endCxn id="1277963" idx="0"/>
          </p:cNvCxnSpPr>
          <p:nvPr/>
        </p:nvCxnSpPr>
        <p:spPr bwMode="auto">
          <a:xfrm>
            <a:off x="7528545" y="3339530"/>
            <a:ext cx="0" cy="274434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7981" name="AutoShape 1053"/>
          <p:cNvCxnSpPr>
            <a:cxnSpLocks noChangeShapeType="1"/>
            <a:stCxn id="1277958" idx="2"/>
            <a:endCxn id="1277962" idx="0"/>
          </p:cNvCxnSpPr>
          <p:nvPr/>
        </p:nvCxnSpPr>
        <p:spPr bwMode="auto">
          <a:xfrm flipH="1">
            <a:off x="6751185" y="3339530"/>
            <a:ext cx="777361" cy="274434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7982" name="AutoShape 1054"/>
          <p:cNvCxnSpPr>
            <a:cxnSpLocks noChangeShapeType="1"/>
            <a:stCxn id="1277960" idx="2"/>
            <a:endCxn id="1277965" idx="0"/>
          </p:cNvCxnSpPr>
          <p:nvPr/>
        </p:nvCxnSpPr>
        <p:spPr bwMode="auto">
          <a:xfrm flipH="1">
            <a:off x="3836080" y="4042767"/>
            <a:ext cx="705913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7983" name="AutoShape 1055"/>
          <p:cNvCxnSpPr>
            <a:cxnSpLocks noChangeShapeType="1"/>
            <a:stCxn id="1277960" idx="2"/>
            <a:endCxn id="1277966" idx="0"/>
          </p:cNvCxnSpPr>
          <p:nvPr/>
        </p:nvCxnSpPr>
        <p:spPr bwMode="auto">
          <a:xfrm>
            <a:off x="4541993" y="4042767"/>
            <a:ext cx="688765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7984" name="AutoShape 1056"/>
          <p:cNvCxnSpPr>
            <a:cxnSpLocks noChangeShapeType="1"/>
            <a:stCxn id="1277965" idx="2"/>
            <a:endCxn id="1277968" idx="0"/>
          </p:cNvCxnSpPr>
          <p:nvPr/>
        </p:nvCxnSpPr>
        <p:spPr bwMode="auto">
          <a:xfrm flipH="1">
            <a:off x="3481694" y="4808897"/>
            <a:ext cx="354385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7985" name="AutoShape 1057"/>
          <p:cNvCxnSpPr>
            <a:cxnSpLocks noChangeShapeType="1"/>
            <a:stCxn id="1277965" idx="2"/>
            <a:endCxn id="1277969" idx="0"/>
          </p:cNvCxnSpPr>
          <p:nvPr/>
        </p:nvCxnSpPr>
        <p:spPr bwMode="auto">
          <a:xfrm>
            <a:off x="3836079" y="4808897"/>
            <a:ext cx="297226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7986" name="AutoShape 1058"/>
          <p:cNvCxnSpPr>
            <a:cxnSpLocks noChangeShapeType="1"/>
            <a:stCxn id="1277966" idx="2"/>
            <a:endCxn id="1277970" idx="0"/>
          </p:cNvCxnSpPr>
          <p:nvPr/>
        </p:nvCxnSpPr>
        <p:spPr bwMode="auto">
          <a:xfrm flipH="1">
            <a:off x="4842077" y="4808897"/>
            <a:ext cx="388681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7987" name="AutoShape 1059"/>
          <p:cNvCxnSpPr>
            <a:cxnSpLocks noChangeShapeType="1"/>
            <a:stCxn id="1277966" idx="2"/>
            <a:endCxn id="1277971" idx="0"/>
          </p:cNvCxnSpPr>
          <p:nvPr/>
        </p:nvCxnSpPr>
        <p:spPr bwMode="auto">
          <a:xfrm>
            <a:off x="5230758" y="4808897"/>
            <a:ext cx="354385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7988" name="AutoShape 1060"/>
          <p:cNvCxnSpPr>
            <a:cxnSpLocks noChangeShapeType="1"/>
            <a:stCxn id="1277967" idx="2"/>
            <a:endCxn id="1277973" idx="0"/>
          </p:cNvCxnSpPr>
          <p:nvPr/>
        </p:nvCxnSpPr>
        <p:spPr bwMode="auto">
          <a:xfrm>
            <a:off x="7528547" y="4808897"/>
            <a:ext cx="457271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7989" name="AutoShape 1061"/>
          <p:cNvCxnSpPr>
            <a:cxnSpLocks noChangeShapeType="1"/>
            <a:stCxn id="1277967" idx="2"/>
            <a:endCxn id="1277972" idx="0"/>
          </p:cNvCxnSpPr>
          <p:nvPr/>
        </p:nvCxnSpPr>
        <p:spPr bwMode="auto">
          <a:xfrm flipH="1">
            <a:off x="7151297" y="4808897"/>
            <a:ext cx="377249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1277990" name="AutoShape 1062"/>
          <p:cNvCxnSpPr>
            <a:cxnSpLocks noChangeShapeType="1"/>
            <a:stCxn id="1277963" idx="2"/>
            <a:endCxn id="1277967" idx="0"/>
          </p:cNvCxnSpPr>
          <p:nvPr/>
        </p:nvCxnSpPr>
        <p:spPr bwMode="auto">
          <a:xfrm>
            <a:off x="7528545" y="4042767"/>
            <a:ext cx="0" cy="337326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1277991" name="Rectangle 1063"/>
          <p:cNvSpPr>
            <a:spLocks noChangeArrowheads="1"/>
          </p:cNvSpPr>
          <p:nvPr/>
        </p:nvSpPr>
        <p:spPr bwMode="auto">
          <a:xfrm>
            <a:off x="7825772" y="2925021"/>
            <a:ext cx="837378" cy="3030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82886" tIns="41443" rIns="82886" bIns="41443">
            <a:spAutoFit/>
          </a:bodyPr>
          <a:lstStyle/>
          <a:p>
            <a:r>
              <a:rPr lang="en-US" sz="1400" b="1" i="1">
                <a:solidFill>
                  <a:schemeClr val="accent1">
                    <a:lumMod val="75000"/>
                  </a:schemeClr>
                </a:solidFill>
              </a:rPr>
              <a:t>In Work</a:t>
            </a:r>
          </a:p>
        </p:txBody>
      </p:sp>
      <p:sp>
        <p:nvSpPr>
          <p:cNvPr id="1277992" name="Rectangle 1064"/>
          <p:cNvSpPr>
            <a:spLocks noChangeArrowheads="1"/>
          </p:cNvSpPr>
          <p:nvPr/>
        </p:nvSpPr>
        <p:spPr bwMode="auto">
          <a:xfrm>
            <a:off x="3370235" y="2980765"/>
            <a:ext cx="967415" cy="3030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82886" tIns="41443" rIns="82886" bIns="41443">
            <a:spAutoFit/>
          </a:bodyPr>
          <a:lstStyle/>
          <a:p>
            <a:r>
              <a:rPr lang="en-US" sz="1400" b="1" i="1">
                <a:solidFill>
                  <a:schemeClr val="accent1">
                    <a:lumMod val="75000"/>
                  </a:schemeClr>
                </a:solidFill>
              </a:rPr>
              <a:t>Released</a:t>
            </a:r>
          </a:p>
        </p:txBody>
      </p:sp>
      <p:sp>
        <p:nvSpPr>
          <p:cNvPr id="1277993" name="Rectangle 1065"/>
          <p:cNvSpPr>
            <a:spLocks noChangeArrowheads="1"/>
          </p:cNvSpPr>
          <p:nvPr/>
        </p:nvSpPr>
        <p:spPr bwMode="auto">
          <a:xfrm>
            <a:off x="2661464" y="4457279"/>
            <a:ext cx="967415" cy="3030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82886" tIns="41443" rIns="82886" bIns="41443">
            <a:spAutoFit/>
          </a:bodyPr>
          <a:lstStyle/>
          <a:p>
            <a:r>
              <a:rPr lang="en-US" sz="1400" b="1" i="1">
                <a:solidFill>
                  <a:schemeClr val="accent1">
                    <a:lumMod val="75000"/>
                  </a:schemeClr>
                </a:solidFill>
              </a:rPr>
              <a:t>Released</a:t>
            </a:r>
          </a:p>
        </p:txBody>
      </p:sp>
      <p:sp>
        <p:nvSpPr>
          <p:cNvPr id="1277994" name="Rectangle 1066"/>
          <p:cNvSpPr>
            <a:spLocks noChangeArrowheads="1"/>
          </p:cNvSpPr>
          <p:nvPr/>
        </p:nvSpPr>
        <p:spPr bwMode="auto">
          <a:xfrm>
            <a:off x="5427956" y="4445844"/>
            <a:ext cx="967415" cy="3030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82886" tIns="41443" rIns="82886" bIns="41443">
            <a:spAutoFit/>
          </a:bodyPr>
          <a:lstStyle/>
          <a:p>
            <a:r>
              <a:rPr lang="en-US" sz="1400" b="1" i="1">
                <a:solidFill>
                  <a:schemeClr val="accent1">
                    <a:lumMod val="75000"/>
                  </a:schemeClr>
                </a:solidFill>
              </a:rPr>
              <a:t>Released</a:t>
            </a:r>
          </a:p>
        </p:txBody>
      </p:sp>
      <p:sp>
        <p:nvSpPr>
          <p:cNvPr id="1277995" name="Rectangle 1067"/>
          <p:cNvSpPr>
            <a:spLocks noChangeArrowheads="1"/>
          </p:cNvSpPr>
          <p:nvPr/>
        </p:nvSpPr>
        <p:spPr bwMode="auto">
          <a:xfrm>
            <a:off x="7768614" y="4434409"/>
            <a:ext cx="837378" cy="3030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82886" tIns="41443" rIns="82886" bIns="41443">
            <a:spAutoFit/>
          </a:bodyPr>
          <a:lstStyle/>
          <a:p>
            <a:r>
              <a:rPr lang="en-US" sz="1400" b="1" i="1">
                <a:solidFill>
                  <a:schemeClr val="accent1">
                    <a:lumMod val="75000"/>
                  </a:schemeClr>
                </a:solidFill>
              </a:rPr>
              <a:t>In Work</a:t>
            </a:r>
          </a:p>
        </p:txBody>
      </p:sp>
      <p:sp>
        <p:nvSpPr>
          <p:cNvPr id="1278000" name="Rectangle 1072"/>
          <p:cNvSpPr>
            <a:spLocks noChangeArrowheads="1"/>
          </p:cNvSpPr>
          <p:nvPr/>
        </p:nvSpPr>
        <p:spPr bwMode="auto">
          <a:xfrm>
            <a:off x="6445384" y="5794130"/>
            <a:ext cx="5503362" cy="96381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dist="17961" dir="2700000" algn="ctr" rotWithShape="0">
              <a:srgbClr val="FFFFFF"/>
            </a:outerShdw>
          </a:effectLst>
        </p:spPr>
        <p:txBody>
          <a:bodyPr lIns="91435" tIns="45718" rIns="91435" bIns="45718"/>
          <a:lstStyle/>
          <a:p>
            <a:pPr algn="l">
              <a:lnSpc>
                <a:spcPct val="90000"/>
              </a:lnSpc>
              <a:spcBef>
                <a:spcPct val="30000"/>
              </a:spcBef>
              <a:buClr>
                <a:schemeClr val="hlink"/>
              </a:buClr>
              <a:buSzPct val="75000"/>
              <a:buFont typeface="Monotype Sorts" pitchFamily="2" charset="2"/>
              <a:buNone/>
            </a:pPr>
            <a:r>
              <a:rPr lang="en-US" sz="2000" i="1">
                <a:solidFill>
                  <a:schemeClr val="tx2">
                    <a:lumMod val="75000"/>
                  </a:schemeClr>
                </a:solidFill>
              </a:rPr>
              <a:t>The product structure navigator walks from the top of the tree to the bottom, selecting the appropriate Part Version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4FE35BB-9474-47E1-8321-360E1EA98A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Several common patterns to link related data in Windchill</a:t>
            </a:r>
          </a:p>
          <a:p>
            <a:r>
              <a:rPr lang="en-US"/>
              <a:t>Version Specific Relationships – “Described by”</a:t>
            </a:r>
          </a:p>
          <a:p>
            <a:pPr lvl="1"/>
            <a:r>
              <a:rPr lang="en-US"/>
              <a:t>The Relationship holds information about the Versions on both sides of the link</a:t>
            </a:r>
          </a:p>
          <a:p>
            <a:pPr lvl="1"/>
            <a:r>
              <a:rPr lang="en-US"/>
              <a:t>Making changes to the Versions requires explicit action – for example manual update, or update via change process</a:t>
            </a:r>
          </a:p>
          <a:p>
            <a:r>
              <a:rPr lang="en-US"/>
              <a:t>Version Independent Relationships – “References”</a:t>
            </a:r>
          </a:p>
          <a:p>
            <a:pPr lvl="1"/>
            <a:r>
              <a:rPr lang="en-US"/>
              <a:t>The Relationship always points to the Latest Version of the related item</a:t>
            </a:r>
          </a:p>
          <a:p>
            <a:pPr lvl="1"/>
            <a:r>
              <a:rPr lang="en-US"/>
              <a:t>The user will always see the latest version of this and does not have to do any additional actions</a:t>
            </a:r>
          </a:p>
          <a:p>
            <a:pPr lvl="2"/>
            <a:r>
              <a:rPr lang="en-US"/>
              <a:t>Can use a Configuration Specification such as Baseline or Effectivity to determine a specific version (as long as there is a valid link)</a:t>
            </a:r>
          </a:p>
          <a:p>
            <a:r>
              <a:rPr lang="en-US"/>
              <a:t>There are other relationship types such as Master and Revision, but are not as common in these types of use cas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E13A6C-44AE-4CFA-B09E-D41EF788F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M – Linking Data</a:t>
            </a:r>
          </a:p>
        </p:txBody>
      </p:sp>
    </p:spTree>
    <p:extLst>
      <p:ext uri="{BB962C8B-B14F-4D97-AF65-F5344CB8AC3E}">
        <p14:creationId xmlns:p14="http://schemas.microsoft.com/office/powerpoint/2010/main" val="3039851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63B3BB9-69A9-43B1-B1DA-32059E0AA4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/>
              <a:t>ALM applications in general support Branch and Copy models</a:t>
            </a:r>
          </a:p>
          <a:p>
            <a:r>
              <a:rPr lang="en-US" sz="1800"/>
              <a:t>MBSE tools have both concepts</a:t>
            </a:r>
          </a:p>
          <a:p>
            <a:pPr lvl="1"/>
            <a:r>
              <a:rPr lang="en-US" sz="1600"/>
              <a:t>(Depending upon vendor and domain)</a:t>
            </a:r>
          </a:p>
          <a:p>
            <a:r>
              <a:rPr lang="en-US" sz="1800"/>
              <a:t>Trace links can have different behavior</a:t>
            </a:r>
          </a:p>
          <a:p>
            <a:pPr lvl="1"/>
            <a:r>
              <a:rPr lang="en-US" sz="1600"/>
              <a:t>PTC will support the ability for </a:t>
            </a:r>
            <a:r>
              <a:rPr lang="en-US" sz="1600" u="sng"/>
              <a:t>configure</a:t>
            </a:r>
            <a:r>
              <a:rPr lang="en-US" sz="1600"/>
              <a:t> Trace links </a:t>
            </a:r>
            <a:br>
              <a:rPr lang="en-US" sz="1600"/>
            </a:br>
            <a:r>
              <a:rPr lang="en-US" sz="1600"/>
              <a:t>to communicate configuration information</a:t>
            </a:r>
          </a:p>
          <a:p>
            <a:pPr lvl="1"/>
            <a:r>
              <a:rPr lang="en-US" sz="1600"/>
              <a:t>A valid link </a:t>
            </a:r>
            <a:r>
              <a:rPr lang="en-US" sz="1600" u="sng"/>
              <a:t>must exist </a:t>
            </a:r>
            <a:r>
              <a:rPr lang="en-US" sz="1600"/>
              <a:t>for configuration information</a:t>
            </a:r>
            <a:br>
              <a:rPr lang="en-US" sz="1600"/>
            </a:br>
            <a:r>
              <a:rPr lang="en-US" sz="1600"/>
              <a:t>to be valid between systems</a:t>
            </a:r>
          </a:p>
          <a:p>
            <a:r>
              <a:rPr lang="en-US" sz="1800"/>
              <a:t>Augment OSLC to communicate configuration information</a:t>
            </a:r>
          </a:p>
          <a:p>
            <a:r>
              <a:rPr lang="en-US" sz="1800"/>
              <a:t>Support updating links manually, via Change process or</a:t>
            </a:r>
            <a:br>
              <a:rPr lang="en-US" sz="1800"/>
            </a:br>
            <a:r>
              <a:rPr lang="en-US" sz="1800"/>
              <a:t>Programmatically</a:t>
            </a:r>
          </a:p>
          <a:p>
            <a:r>
              <a:rPr lang="en-US" sz="1800"/>
              <a:t>Enable additional configuration concepts to be</a:t>
            </a:r>
            <a:br>
              <a:rPr lang="en-US" sz="1800"/>
            </a:br>
            <a:r>
              <a:rPr lang="en-US" sz="1800"/>
              <a:t>supported</a:t>
            </a:r>
          </a:p>
          <a:p>
            <a:pPr lvl="1"/>
            <a:r>
              <a:rPr lang="en-US" sz="1400"/>
              <a:t>Share Baseline information across systems</a:t>
            </a:r>
          </a:p>
          <a:p>
            <a:pPr lvl="1"/>
            <a:r>
              <a:rPr lang="en-US" sz="1400"/>
              <a:t>Leverage concepts such as State or Effectivity where appropriate</a:t>
            </a:r>
          </a:p>
          <a:p>
            <a:endParaRPr lang="en-US" sz="18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CA377BA-81EF-4EEA-9285-BFD90CAD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tending Concepts to OSLC Traceability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F466B06E-DDA8-44FF-BFA5-BB01EFBC86CB}"/>
              </a:ext>
            </a:extLst>
          </p:cNvPr>
          <p:cNvSpPr/>
          <p:nvPr/>
        </p:nvSpPr>
        <p:spPr>
          <a:xfrm>
            <a:off x="7283039" y="3046351"/>
            <a:ext cx="1124125" cy="394283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900">
                <a:solidFill>
                  <a:sysClr val="windowText" lastClr="000000"/>
                </a:solidFill>
              </a:rPr>
              <a:t>Req 1, A-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87608CC-EC7C-4332-B9F7-F6CD58E9D177}"/>
              </a:ext>
            </a:extLst>
          </p:cNvPr>
          <p:cNvSpPr/>
          <p:nvPr/>
        </p:nvSpPr>
        <p:spPr>
          <a:xfrm>
            <a:off x="7552272" y="4266333"/>
            <a:ext cx="1124125" cy="394283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900">
                <a:solidFill>
                  <a:sysClr val="windowText" lastClr="000000"/>
                </a:solidFill>
              </a:rPr>
              <a:t>Req 1, B-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409470A-6EAF-4522-AC1A-F14F7E4E275A}"/>
              </a:ext>
            </a:extLst>
          </p:cNvPr>
          <p:cNvSpPr/>
          <p:nvPr/>
        </p:nvSpPr>
        <p:spPr>
          <a:xfrm>
            <a:off x="7552271" y="4928755"/>
            <a:ext cx="1124125" cy="394283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900">
                <a:solidFill>
                  <a:sysClr val="windowText" lastClr="000000"/>
                </a:solidFill>
              </a:rPr>
              <a:t>Req 1, B-2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C2C8865-0D5B-4689-96E5-5FA295968EE0}"/>
              </a:ext>
            </a:extLst>
          </p:cNvPr>
          <p:cNvCxnSpPr>
            <a:stCxn id="4" idx="4"/>
            <a:endCxn id="5" idx="0"/>
          </p:cNvCxnSpPr>
          <p:nvPr/>
        </p:nvCxnSpPr>
        <p:spPr>
          <a:xfrm>
            <a:off x="7845102" y="3440634"/>
            <a:ext cx="269233" cy="82569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3F402D3-A382-4DD4-91FB-BB2BA601360B}"/>
              </a:ext>
            </a:extLst>
          </p:cNvPr>
          <p:cNvCxnSpPr>
            <a:cxnSpLocks/>
            <a:stCxn id="5" idx="4"/>
            <a:endCxn id="6" idx="0"/>
          </p:cNvCxnSpPr>
          <p:nvPr/>
        </p:nvCxnSpPr>
        <p:spPr>
          <a:xfrm flipH="1">
            <a:off x="8114334" y="4660616"/>
            <a:ext cx="1" cy="26813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30A3401-3FAA-4D9B-8C10-BAA2CDD39678}"/>
              </a:ext>
            </a:extLst>
          </p:cNvPr>
          <p:cNvSpPr/>
          <p:nvPr/>
        </p:nvSpPr>
        <p:spPr>
          <a:xfrm>
            <a:off x="10605412" y="2909047"/>
            <a:ext cx="686015" cy="39428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900">
                <a:solidFill>
                  <a:sysClr val="windowText" lastClr="000000"/>
                </a:solidFill>
              </a:rPr>
              <a:t>Part 1 (Master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4FDD97B-A101-4D29-96F6-89FC4045ECFC}"/>
              </a:ext>
            </a:extLst>
          </p:cNvPr>
          <p:cNvSpPr/>
          <p:nvPr/>
        </p:nvSpPr>
        <p:spPr>
          <a:xfrm>
            <a:off x="10192338" y="3585970"/>
            <a:ext cx="654342" cy="39428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900">
                <a:solidFill>
                  <a:sysClr val="windowText" lastClr="000000"/>
                </a:solidFill>
              </a:rPr>
              <a:t>Rev A.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6DA9FC-F5BC-4F43-BE63-05ADE9728D75}"/>
              </a:ext>
            </a:extLst>
          </p:cNvPr>
          <p:cNvSpPr/>
          <p:nvPr/>
        </p:nvSpPr>
        <p:spPr>
          <a:xfrm>
            <a:off x="10192337" y="4098819"/>
            <a:ext cx="654342" cy="39428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900">
                <a:solidFill>
                  <a:sysClr val="windowText" lastClr="000000"/>
                </a:solidFill>
              </a:rPr>
              <a:t>Rev A.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9D77807-B306-4C50-BFBA-485A5E28A678}"/>
              </a:ext>
            </a:extLst>
          </p:cNvPr>
          <p:cNvSpPr/>
          <p:nvPr/>
        </p:nvSpPr>
        <p:spPr>
          <a:xfrm>
            <a:off x="10621249" y="5348205"/>
            <a:ext cx="654342" cy="39428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900">
                <a:solidFill>
                  <a:sysClr val="windowText" lastClr="000000"/>
                </a:solidFill>
              </a:rPr>
              <a:t>Rev B.1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ED1BFB3-02EA-47BD-A142-068764877322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flipH="1">
            <a:off x="10519509" y="3303330"/>
            <a:ext cx="428911" cy="28264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3EC6209-BF77-41E3-8D7D-784951063424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 flipH="1">
            <a:off x="10519508" y="3980253"/>
            <a:ext cx="1" cy="118566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2E7724B-64CF-471F-AE67-5603E9B8F8AE}"/>
              </a:ext>
            </a:extLst>
          </p:cNvPr>
          <p:cNvCxnSpPr>
            <a:cxnSpLocks/>
            <a:stCxn id="9" idx="2"/>
            <a:endCxn id="12" idx="0"/>
          </p:cNvCxnSpPr>
          <p:nvPr/>
        </p:nvCxnSpPr>
        <p:spPr>
          <a:xfrm>
            <a:off x="10948420" y="3303330"/>
            <a:ext cx="0" cy="2044875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EF268718-DBF3-4748-8EF1-C4098FB2D9A5}"/>
              </a:ext>
            </a:extLst>
          </p:cNvPr>
          <p:cNvSpPr txBox="1"/>
          <p:nvPr/>
        </p:nvSpPr>
        <p:spPr>
          <a:xfrm>
            <a:off x="7173983" y="2323283"/>
            <a:ext cx="1342238" cy="184558"/>
          </a:xfrm>
          <a:prstGeom prst="rect">
            <a:avLst/>
          </a:prstGeom>
          <a:ln w="9525">
            <a:noFill/>
          </a:ln>
        </p:spPr>
        <p:txBody>
          <a:bodyPr vert="horz" wrap="non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900"/>
              <a:t>Requirements Domai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006DE0C-4BC0-420D-AA8A-93EC50457E1A}"/>
              </a:ext>
            </a:extLst>
          </p:cNvPr>
          <p:cNvSpPr txBox="1"/>
          <p:nvPr/>
        </p:nvSpPr>
        <p:spPr>
          <a:xfrm>
            <a:off x="10397683" y="2323283"/>
            <a:ext cx="1342238" cy="184558"/>
          </a:xfrm>
          <a:prstGeom prst="rect">
            <a:avLst/>
          </a:prstGeom>
          <a:ln w="9525">
            <a:noFill/>
          </a:ln>
        </p:spPr>
        <p:txBody>
          <a:bodyPr vert="horz" wrap="non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900"/>
              <a:t>Part/Product Domai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49831DD-72AA-458A-AD85-20BDF27899B2}"/>
              </a:ext>
            </a:extLst>
          </p:cNvPr>
          <p:cNvCxnSpPr>
            <a:cxnSpLocks/>
            <a:stCxn id="4" idx="6"/>
            <a:endCxn id="11" idx="1"/>
          </p:cNvCxnSpPr>
          <p:nvPr/>
        </p:nvCxnSpPr>
        <p:spPr>
          <a:xfrm>
            <a:off x="8407164" y="3243493"/>
            <a:ext cx="1785173" cy="1052468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83448B2-41B4-41B2-93B1-74D6F9E0FEEA}"/>
              </a:ext>
            </a:extLst>
          </p:cNvPr>
          <p:cNvCxnSpPr>
            <a:cxnSpLocks/>
            <a:stCxn id="6" idx="6"/>
            <a:endCxn id="12" idx="1"/>
          </p:cNvCxnSpPr>
          <p:nvPr/>
        </p:nvCxnSpPr>
        <p:spPr>
          <a:xfrm>
            <a:off x="8676396" y="5125897"/>
            <a:ext cx="1944853" cy="41945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5BEABABC-7195-4A9A-B0B4-EC0D283D85A7}"/>
              </a:ext>
            </a:extLst>
          </p:cNvPr>
          <p:cNvSpPr/>
          <p:nvPr/>
        </p:nvSpPr>
        <p:spPr>
          <a:xfrm rot="6118525">
            <a:off x="8985245" y="4209816"/>
            <a:ext cx="1441844" cy="706137"/>
          </a:xfrm>
          <a:prstGeom prst="rightArrow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wordArtVert" wrap="square" lIns="91440" tIns="9144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900">
                <a:solidFill>
                  <a:schemeClr val="bg1"/>
                </a:solidFill>
              </a:rPr>
              <a:t>Change</a:t>
            </a:r>
          </a:p>
        </p:txBody>
      </p:sp>
      <p:sp>
        <p:nvSpPr>
          <p:cNvPr id="31" name="Speech Bubble: Rectangle 30">
            <a:extLst>
              <a:ext uri="{FF2B5EF4-FFF2-40B4-BE49-F238E27FC236}">
                <a16:creationId xmlns:a16="http://schemas.microsoft.com/office/drawing/2014/main" id="{21D31219-B64C-407A-8519-17F717623372}"/>
              </a:ext>
            </a:extLst>
          </p:cNvPr>
          <p:cNvSpPr/>
          <p:nvPr/>
        </p:nvSpPr>
        <p:spPr>
          <a:xfrm>
            <a:off x="9741778" y="5964796"/>
            <a:ext cx="2450221" cy="573181"/>
          </a:xfrm>
          <a:prstGeom prst="wedgeRectCallout">
            <a:avLst>
              <a:gd name="adj1" fmla="val -48254"/>
              <a:gd name="adj2" fmla="val -155318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r>
              <a:rPr lang="en-US" sz="1200">
                <a:solidFill>
                  <a:schemeClr val="bg1"/>
                </a:solidFill>
              </a:rPr>
              <a:t>Link is created / updated based upon explicit action such as a Change or via rules</a:t>
            </a:r>
          </a:p>
        </p:txBody>
      </p:sp>
    </p:spTree>
    <p:extLst>
      <p:ext uri="{BB962C8B-B14F-4D97-AF65-F5344CB8AC3E}">
        <p14:creationId xmlns:p14="http://schemas.microsoft.com/office/powerpoint/2010/main" val="2922371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2" grpId="0" animBg="1"/>
      <p:bldP spid="20" grpId="0" animBg="1"/>
      <p:bldP spid="3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710EA13-AB73-44AA-BAD2-FF6B2B750D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760" y="1182390"/>
            <a:ext cx="10789920" cy="5099538"/>
          </a:xfrm>
        </p:spPr>
        <p:txBody>
          <a:bodyPr vert="horz" lIns="0" tIns="0" rIns="0" bIns="0" rtlCol="0" anchor="t">
            <a:noAutofit/>
          </a:bodyPr>
          <a:lstStyle/>
          <a:p>
            <a:pPr>
              <a:buChar char="•"/>
            </a:pPr>
            <a:r>
              <a:rPr lang="en-US">
                <a:ea typeface="+mn-lt"/>
                <a:cs typeface="+mn-lt"/>
              </a:rPr>
              <a:t>Determines when a Part Revision is planned to be ”Used in Production”</a:t>
            </a:r>
            <a:endParaRPr lang="en-US"/>
          </a:p>
          <a:p>
            <a:pPr>
              <a:buChar char="•"/>
            </a:pPr>
            <a:r>
              <a:rPr lang="en-US">
                <a:ea typeface="+mn-lt"/>
                <a:cs typeface="+mn-lt"/>
              </a:rPr>
              <a:t>Three kinds of effectivity</a:t>
            </a:r>
            <a:endParaRPr lang="en-US"/>
          </a:p>
          <a:p>
            <a:pPr lvl="1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Date   (global or effectivity context)</a:t>
            </a:r>
          </a:p>
          <a:p>
            <a:pPr lvl="1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Lot   (requires effectivity context)</a:t>
            </a:r>
          </a:p>
          <a:p>
            <a:pPr lvl="1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Serial Number   (requires effectivity context)</a:t>
            </a:r>
            <a:endParaRPr lang="en-US"/>
          </a:p>
          <a:p>
            <a:pPr>
              <a:buChar char="•"/>
            </a:pPr>
            <a:r>
              <a:rPr lang="en-US">
                <a:ea typeface="+mn-lt"/>
                <a:cs typeface="+mn-lt"/>
              </a:rPr>
              <a:t>Able to enter both a beginning and ending parameter</a:t>
            </a:r>
            <a:endParaRPr lang="en-US"/>
          </a:p>
          <a:p>
            <a:pPr lvl="1">
              <a:buChar char="•"/>
            </a:pPr>
            <a:r>
              <a:rPr lang="en-US">
                <a:ea typeface="+mn-lt"/>
                <a:cs typeface="+mn-lt"/>
              </a:rPr>
              <a:t>Date =&gt; 01/31/2009 – 12/31/2010</a:t>
            </a:r>
            <a:endParaRPr lang="en-US"/>
          </a:p>
          <a:p>
            <a:pPr lvl="1">
              <a:buChar char="•"/>
            </a:pPr>
            <a:r>
              <a:rPr lang="en-US">
                <a:ea typeface="+mn-lt"/>
                <a:cs typeface="+mn-lt"/>
              </a:rPr>
              <a:t>Unit  =&gt; 001-020</a:t>
            </a:r>
            <a:endParaRPr lang="en-US"/>
          </a:p>
          <a:p>
            <a:pPr>
              <a:buChar char="•"/>
            </a:pPr>
            <a:r>
              <a:rPr lang="en-US">
                <a:ea typeface="+mn-lt"/>
                <a:cs typeface="+mn-lt"/>
              </a:rPr>
              <a:t>Configuration Specification used to expand a product structure according to effectivity</a:t>
            </a:r>
            <a:endParaRPr lang="en-US"/>
          </a:p>
          <a:p>
            <a:pPr>
              <a:buChar char="•"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0031CE7-8972-4DA8-8E68-01FC05134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/>
              <a:t>Effectivity</a:t>
            </a:r>
          </a:p>
        </p:txBody>
      </p:sp>
    </p:spTree>
    <p:extLst>
      <p:ext uri="{BB962C8B-B14F-4D97-AF65-F5344CB8AC3E}">
        <p14:creationId xmlns:p14="http://schemas.microsoft.com/office/powerpoint/2010/main" val="623287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heme/theme1.xml><?xml version="1.0" encoding="utf-8"?>
<a:theme xmlns:a="http://schemas.openxmlformats.org/drawingml/2006/main" name="PTC PowerPoint Template">
  <a:themeElements>
    <a:clrScheme name="Feb 2">
      <a:dk1>
        <a:srgbClr val="3D4647"/>
      </a:dk1>
      <a:lt1>
        <a:srgbClr val="FFFFFF"/>
      </a:lt1>
      <a:dk2>
        <a:srgbClr val="C8C9C7"/>
      </a:dk2>
      <a:lt2>
        <a:srgbClr val="6CC04A"/>
      </a:lt2>
      <a:accent1>
        <a:srgbClr val="40AA1D"/>
      </a:accent1>
      <a:accent2>
        <a:srgbClr val="617480"/>
      </a:accent2>
      <a:accent3>
        <a:srgbClr val="26481F"/>
      </a:accent3>
      <a:accent4>
        <a:srgbClr val="197BC0"/>
      </a:accent4>
      <a:accent5>
        <a:srgbClr val="EB6D00"/>
      </a:accent5>
      <a:accent6>
        <a:srgbClr val="1D496E"/>
      </a:accent6>
      <a:hlink>
        <a:srgbClr val="197BC0"/>
      </a:hlink>
      <a:folHlink>
        <a:srgbClr val="197BC0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9525">
          <a:noFill/>
        </a:ln>
      </a:spPr>
      <a:bodyPr vert="horz" wrap="square" lIns="45720" tIns="45720" rIns="45720" bIns="45720" rtlCol="0"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1E68E7E2-B6C0-46A1-B54D-5A6C668C327B}" vid="{735B8A15-550A-45F5-8CCF-27E621F3D67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FA9E498BFF654091D7485492D3C2EE" ma:contentTypeVersion="17" ma:contentTypeDescription="Create a new document." ma:contentTypeScope="" ma:versionID="ea674e5ac9a094dbad0a5dfa192cea0a">
  <xsd:schema xmlns:xsd="http://www.w3.org/2001/XMLSchema" xmlns:xs="http://www.w3.org/2001/XMLSchema" xmlns:p="http://schemas.microsoft.com/office/2006/metadata/properties" xmlns:ns2="42dc5a07-1208-4400-bd00-6935704e6cd3" xmlns:ns3="e9d3ea12-5778-4f1c-8baf-8905601cb4bf" xmlns:ns4="0afc796f-8643-486e-8997-d31e75ae07ce" targetNamespace="http://schemas.microsoft.com/office/2006/metadata/properties" ma:root="true" ma:fieldsID="de963aeb949e0774a98bfea190886a19" ns2:_="" ns3:_="" ns4:_="">
    <xsd:import namespace="42dc5a07-1208-4400-bd00-6935704e6cd3"/>
    <xsd:import namespace="e9d3ea12-5778-4f1c-8baf-8905601cb4bf"/>
    <xsd:import namespace="0afc796f-8643-486e-8997-d31e75ae07c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Approval_x0020_Statu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dc5a07-1208-4400-bd00-6935704e6cd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d3ea12-5778-4f1c-8baf-8905601cb4b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Approval_x0020_Status" ma:index="14" nillable="true" ma:displayName="Status" ma:format="Dropdown" ma:internalName="Approval_x0020_Status">
      <xsd:simpleType>
        <xsd:restriction base="dms:Choice">
          <xsd:enumeration value="Awaiting Submission"/>
          <xsd:enumeration value="Submitted"/>
          <xsd:enumeration value="Approved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95d64b0b-b9db-40f4-af1f-30e697a1503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fc796f-8643-486e-8997-d31e75ae07c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425b833-e46d-4750-89d2-2c6597b2b34c}" ma:internalName="TaxCatchAll" ma:showField="CatchAllData" ma:web="42dc5a07-1208-4400-bd00-6935704e6c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afc796f-8643-486e-8997-d31e75ae07ce" xsi:nil="true"/>
    <lcf76f155ced4ddcb4097134ff3c332f xmlns="e9d3ea12-5778-4f1c-8baf-8905601cb4bf">
      <Terms xmlns="http://schemas.microsoft.com/office/infopath/2007/PartnerControls"/>
    </lcf76f155ced4ddcb4097134ff3c332f>
    <Approval_x0020_Status xmlns="e9d3ea12-5778-4f1c-8baf-8905601cb4bf" xsi:nil="true"/>
    <SharedWithUsers xmlns="42dc5a07-1208-4400-bd00-6935704e6cd3">
      <UserInfo>
        <DisplayName>Jolly, Tanupreet</DisplayName>
        <AccountId>240</AccountId>
        <AccountType/>
      </UserInfo>
      <UserInfo>
        <DisplayName>Zemsky, Jeffrey</DisplayName>
        <AccountId>238</AccountId>
        <AccountType/>
      </UserInfo>
      <UserInfo>
        <DisplayName>Apperly, Hedley</DisplayName>
        <AccountId>36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A6CA288-E816-4618-B67E-E9419BDFCFC8}">
  <ds:schemaRefs>
    <ds:schemaRef ds:uri="0afc796f-8643-486e-8997-d31e75ae07ce"/>
    <ds:schemaRef ds:uri="42dc5a07-1208-4400-bd00-6935704e6cd3"/>
    <ds:schemaRef ds:uri="e9d3ea12-5778-4f1c-8baf-8905601cb4b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EC9CC59-D88B-4554-97B2-9371C42A2FAA}">
  <ds:schemaRefs>
    <ds:schemaRef ds:uri="0afc796f-8643-486e-8997-d31e75ae07ce"/>
    <ds:schemaRef ds:uri="42dc5a07-1208-4400-bd00-6935704e6cd3"/>
    <ds:schemaRef ds:uri="e9d3ea12-5778-4f1c-8baf-8905601cb4bf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9848EB1-4AC2-44A1-A8BC-E1888DF9BB8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2</TotalTime>
  <Words>1379</Words>
  <Application>Microsoft Office PowerPoint</Application>
  <PresentationFormat>Widescreen</PresentationFormat>
  <Paragraphs>253</Paragraphs>
  <Slides>3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4" baseType="lpstr">
      <vt:lpstr>Times New Roman</vt:lpstr>
      <vt:lpstr>Wingdings</vt:lpstr>
      <vt:lpstr>Monotype Sorts</vt:lpstr>
      <vt:lpstr>Calibri</vt:lpstr>
      <vt:lpstr>Symbol</vt:lpstr>
      <vt:lpstr>Arial Narrow</vt:lpstr>
      <vt:lpstr>PTCRaleway</vt:lpstr>
      <vt:lpstr>PTCRaleway Black</vt:lpstr>
      <vt:lpstr>Arial</vt:lpstr>
      <vt:lpstr>PTC PowerPoint Template</vt:lpstr>
      <vt:lpstr>think-cell Slide</vt:lpstr>
      <vt:lpstr>Oslc Product Domain</vt:lpstr>
      <vt:lpstr>Agenda</vt:lpstr>
      <vt:lpstr>PLM – HOLISTIC Product Definition</vt:lpstr>
      <vt:lpstr>Configuration Management – PLM Concepts</vt:lpstr>
      <vt:lpstr>PLM Configuration Management</vt:lpstr>
      <vt:lpstr>PLM Configuration Management</vt:lpstr>
      <vt:lpstr>PLM – Linking Data</vt:lpstr>
      <vt:lpstr>Extending Concepts to OSLC Traceability</vt:lpstr>
      <vt:lpstr>Effectivit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LM Linked Data</vt:lpstr>
      <vt:lpstr>Agenda</vt:lpstr>
      <vt:lpstr>Windchill as OSLC server</vt:lpstr>
      <vt:lpstr>Windchill OSLC services</vt:lpstr>
      <vt:lpstr>SEARCH FOR PARTS</vt:lpstr>
      <vt:lpstr>SEARCH FOR PART versions</vt:lpstr>
      <vt:lpstr>Reverse look-up service</vt:lpstr>
      <vt:lpstr>how Modeler OSLC Client links to Windchill PLM parts</vt:lpstr>
      <vt:lpstr>Agenda</vt:lpstr>
      <vt:lpstr>Poor PLM COVERAGE IN OSLC</vt:lpstr>
      <vt:lpstr>Poor UX, Weak Support for CM</vt:lpstr>
      <vt:lpstr>Weak Support for CM</vt:lpstr>
      <vt:lpstr>QUESTIONS?</vt:lpstr>
      <vt:lpstr>PowerPoint Presentation</vt:lpstr>
      <vt:lpstr>Config mgmt. - Modeler</vt:lpstr>
      <vt:lpstr>Config mgmt. - Modeler</vt:lpstr>
      <vt:lpstr>Config mgmt. - Modeler</vt:lpstr>
      <vt:lpstr>Config mgmt. - Model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Product Traceability</dc:title>
  <dc:creator>Zemsky, Jeffrey</dc:creator>
  <cp:lastModifiedBy>Ollerton, Patrick</cp:lastModifiedBy>
  <cp:revision>31</cp:revision>
  <dcterms:created xsi:type="dcterms:W3CDTF">2022-10-11T01:42:51Z</dcterms:created>
  <dcterms:modified xsi:type="dcterms:W3CDTF">2023-01-18T14:5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FA9E498BFF654091D7485492D3C2EE</vt:lpwstr>
  </property>
  <property fmtid="{D5CDD505-2E9C-101B-9397-08002B2CF9AE}" pid="3" name="MediaServiceImageTags">
    <vt:lpwstr/>
  </property>
</Properties>
</file>